
<file path=[Content_Types].xml><?xml version="1.0" encoding="utf-8"?>
<Types xmlns="http://schemas.openxmlformats.org/package/2006/content-types">
  <Default Extension="B537F1B0" ContentType="image/jpeg"/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3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5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6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232.xml" ContentType="application/vnd.openxmlformats-officedocument.presentationml.tags+xml"/>
  <Override PartName="/ppt/notesSlides/notesSlide1.xml" ContentType="application/vnd.openxmlformats-officedocument.presentationml.notesSlide+xml"/>
  <Override PartName="/ppt/tags/tag233.xml" ContentType="application/vnd.openxmlformats-officedocument.presentationml.tags+xml"/>
  <Override PartName="/ppt/notesSlides/notesSlide2.xml" ContentType="application/vnd.openxmlformats-officedocument.presentationml.notesSlid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notesSlides/notesSlide3.xml" ContentType="application/vnd.openxmlformats-officedocument.presentationml.notesSlide+xml"/>
  <Override PartName="/ppt/tags/tag236.xml" ContentType="application/vnd.openxmlformats-officedocument.presentationml.tags+xml"/>
  <Override PartName="/ppt/notesSlides/notesSlide4.xml" ContentType="application/vnd.openxmlformats-officedocument.presentationml.notesSlide+xml"/>
  <Override PartName="/ppt/tags/tag237.xml" ContentType="application/vnd.openxmlformats-officedocument.presentationml.tags+xml"/>
  <Override PartName="/ppt/notesSlides/notesSlide5.xml" ContentType="application/vnd.openxmlformats-officedocument.presentationml.notesSlide+xml"/>
  <Override PartName="/ppt/tags/tag238.xml" ContentType="application/vnd.openxmlformats-officedocument.presentationml.tags+xml"/>
  <Override PartName="/ppt/notesSlides/notesSlide6.xml" ContentType="application/vnd.openxmlformats-officedocument.presentationml.notesSlide+xml"/>
  <Override PartName="/ppt/tags/tag239.xml" ContentType="application/vnd.openxmlformats-officedocument.presentationml.tags+xml"/>
  <Override PartName="/ppt/notesSlides/notesSlide7.xml" ContentType="application/vnd.openxmlformats-officedocument.presentationml.notesSlide+xml"/>
  <Override PartName="/ppt/tags/tag240.xml" ContentType="application/vnd.openxmlformats-officedocument.presentationml.tags+xml"/>
  <Override PartName="/ppt/notesSlides/notesSlide8.xml" ContentType="application/vnd.openxmlformats-officedocument.presentationml.notesSlide+xml"/>
  <Override PartName="/ppt/tags/tag241.xml" ContentType="application/vnd.openxmlformats-officedocument.presentationml.tags+xml"/>
  <Override PartName="/ppt/notesSlides/notesSlide9.xml" ContentType="application/vnd.openxmlformats-officedocument.presentationml.notesSlide+xml"/>
  <Override PartName="/ppt/tags/tag242.xml" ContentType="application/vnd.openxmlformats-officedocument.presentationml.tags+xml"/>
  <Override PartName="/ppt/notesSlides/notesSlide10.xml" ContentType="application/vnd.openxmlformats-officedocument.presentationml.notesSlide+xml"/>
  <Override PartName="/ppt/tags/tag243.xml" ContentType="application/vnd.openxmlformats-officedocument.presentationml.tags+xml"/>
  <Override PartName="/ppt/notesSlides/notesSlide11.xml" ContentType="application/vnd.openxmlformats-officedocument.presentationml.notesSlide+xml"/>
  <Override PartName="/ppt/tags/tag244.xml" ContentType="application/vnd.openxmlformats-officedocument.presentationml.tags+xml"/>
  <Override PartName="/ppt/notesSlides/notesSlide12.xml" ContentType="application/vnd.openxmlformats-officedocument.presentationml.notesSlide+xml"/>
  <Override PartName="/ppt/tags/tag245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46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47.xml" ContentType="application/vnd.openxmlformats-officedocument.presentationml.tags+xml"/>
  <Override PartName="/ppt/notesSlides/notesSlide16.xml" ContentType="application/vnd.openxmlformats-officedocument.presentationml.notesSlide+xml"/>
  <Override PartName="/ppt/tags/tag248.xml" ContentType="application/vnd.openxmlformats-officedocument.presentationml.tags+xml"/>
  <Override PartName="/ppt/notesSlides/notesSlide17.xml" ContentType="application/vnd.openxmlformats-officedocument.presentationml.notesSlide+xml"/>
  <Override PartName="/ppt/tags/tag249.xml" ContentType="application/vnd.openxmlformats-officedocument.presentationml.tags+xml"/>
  <Override PartName="/ppt/notesSlides/notesSlide18.xml" ContentType="application/vnd.openxmlformats-officedocument.presentationml.notesSlide+xml"/>
  <Override PartName="/ppt/tags/tag250.xml" ContentType="application/vnd.openxmlformats-officedocument.presentationml.tags+xml"/>
  <Override PartName="/ppt/notesSlides/notesSlide19.xml" ContentType="application/vnd.openxmlformats-officedocument.presentationml.notesSlide+xml"/>
  <Override PartName="/ppt/tags/tag251.xml" ContentType="application/vnd.openxmlformats-officedocument.presentationml.tags+xml"/>
  <Override PartName="/ppt/notesSlides/notesSlide2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52.xml" ContentType="application/vnd.openxmlformats-officedocument.presentationml.tags+xml"/>
  <Override PartName="/ppt/notesSlides/notesSlide21.xml" ContentType="application/vnd.openxmlformats-officedocument.presentationml.notesSlide+xml"/>
  <Override PartName="/ppt/tags/tag253.xml" ContentType="application/vnd.openxmlformats-officedocument.presentationml.tags+xml"/>
  <Override PartName="/ppt/notesSlides/notesSlide22.xml" ContentType="application/vnd.openxmlformats-officedocument.presentationml.notesSlide+xml"/>
  <Override PartName="/ppt/tags/tag254.xml" ContentType="application/vnd.openxmlformats-officedocument.presentationml.tags+xml"/>
  <Override PartName="/ppt/notesSlides/notesSlide2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710" r:id="rId5"/>
    <p:sldMasterId id="2147483753" r:id="rId6"/>
    <p:sldMasterId id="2147483796" r:id="rId7"/>
    <p:sldMasterId id="2147483837" r:id="rId8"/>
    <p:sldMasterId id="2147483877" r:id="rId9"/>
  </p:sldMasterIdLst>
  <p:notesMasterIdLst>
    <p:notesMasterId r:id="rId33"/>
  </p:notesMasterIdLst>
  <p:handoutMasterIdLst>
    <p:handoutMasterId r:id="rId34"/>
  </p:handoutMasterIdLst>
  <p:sldIdLst>
    <p:sldId id="324" r:id="rId10"/>
    <p:sldId id="342" r:id="rId11"/>
    <p:sldId id="2147469428" r:id="rId12"/>
    <p:sldId id="2147469429" r:id="rId13"/>
    <p:sldId id="326" r:id="rId14"/>
    <p:sldId id="2147469435" r:id="rId15"/>
    <p:sldId id="2147469437" r:id="rId16"/>
    <p:sldId id="2147469450" r:id="rId17"/>
    <p:sldId id="2147469466" r:id="rId18"/>
    <p:sldId id="307" r:id="rId19"/>
    <p:sldId id="2147469477" r:id="rId20"/>
    <p:sldId id="2147469432" r:id="rId21"/>
    <p:sldId id="330" r:id="rId22"/>
    <p:sldId id="2147375624" r:id="rId23"/>
    <p:sldId id="2147469441" r:id="rId24"/>
    <p:sldId id="2147469442" r:id="rId25"/>
    <p:sldId id="2141411572" r:id="rId26"/>
    <p:sldId id="2147469445" r:id="rId27"/>
    <p:sldId id="2147469449" r:id="rId28"/>
    <p:sldId id="2147469443" r:id="rId29"/>
    <p:sldId id="362" r:id="rId30"/>
    <p:sldId id="2147469446" r:id="rId31"/>
    <p:sldId id="272" r:id="rId32"/>
  </p:sldIdLst>
  <p:sldSz cx="12192000" cy="6858000"/>
  <p:notesSz cx="7315200" cy="9601200"/>
  <p:custDataLst>
    <p:tags r:id="rId35"/>
  </p:custDataLst>
  <p:defaultTextStyle>
    <a:defPPr>
      <a:defRPr lang="en-US"/>
    </a:defPPr>
    <a:lvl1pPr algn="l" defTabSz="511175" rtl="0" fontAlgn="base">
      <a:spcBef>
        <a:spcPct val="50000"/>
      </a:spcBef>
      <a:spcAft>
        <a:spcPct val="0"/>
      </a:spcAft>
      <a:defRPr sz="21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1pPr>
    <a:lvl2pPr marL="511175" indent="-191135" algn="l" defTabSz="511175" rtl="0" fontAlgn="base">
      <a:spcBef>
        <a:spcPct val="50000"/>
      </a:spcBef>
      <a:spcAft>
        <a:spcPct val="0"/>
      </a:spcAft>
      <a:defRPr sz="21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2pPr>
    <a:lvl3pPr marL="1023462" indent="-383382" algn="l" defTabSz="511175" rtl="0" fontAlgn="base">
      <a:spcBef>
        <a:spcPct val="50000"/>
      </a:spcBef>
      <a:spcAft>
        <a:spcPct val="0"/>
      </a:spcAft>
      <a:defRPr sz="21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3pPr>
    <a:lvl4pPr marL="1535748" indent="-575628" algn="l" defTabSz="511175" rtl="0" fontAlgn="base">
      <a:spcBef>
        <a:spcPct val="50000"/>
      </a:spcBef>
      <a:spcAft>
        <a:spcPct val="0"/>
      </a:spcAft>
      <a:defRPr sz="21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4pPr>
    <a:lvl5pPr marL="2048034" indent="-767874" algn="l" defTabSz="511175" rtl="0" fontAlgn="base">
      <a:spcBef>
        <a:spcPct val="50000"/>
      </a:spcBef>
      <a:spcAft>
        <a:spcPct val="0"/>
      </a:spcAft>
      <a:defRPr sz="21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5pPr>
    <a:lvl6pPr marL="1600200" algn="l" defTabSz="320040" rtl="0" eaLnBrk="1" latinLnBrk="0" hangingPunct="1">
      <a:defRPr sz="21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6pPr>
    <a:lvl7pPr marL="1920240" algn="l" defTabSz="320040" rtl="0" eaLnBrk="1" latinLnBrk="0" hangingPunct="1">
      <a:defRPr sz="21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7pPr>
    <a:lvl8pPr marL="2240280" algn="l" defTabSz="320040" rtl="0" eaLnBrk="1" latinLnBrk="0" hangingPunct="1">
      <a:defRPr sz="21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8pPr>
    <a:lvl9pPr marL="2560320" algn="l" defTabSz="320040" rtl="0" eaLnBrk="1" latinLnBrk="0" hangingPunct="1">
      <a:defRPr sz="21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9pPr>
  </p:defaultTextStyle>
  <p:extLst>
    <p:ext uri="{EFAFB233-063F-42B5-8137-9DF3F51BA10A}">
      <p15:sldGuideLst xmlns:p15="http://schemas.microsoft.com/office/powerpoint/2012/main">
        <p15:guide id="2" orient="horz" pos="2160" userDrawn="1">
          <p15:clr>
            <a:srgbClr val="A4A3A4"/>
          </p15:clr>
        </p15:guide>
        <p15:guide id="3" orient="horz" pos="240" userDrawn="1">
          <p15:clr>
            <a:srgbClr val="A4A3A4"/>
          </p15:clr>
        </p15:guide>
        <p15:guide id="5" orient="horz" pos="1080" userDrawn="1">
          <p15:clr>
            <a:srgbClr val="A4A3A4"/>
          </p15:clr>
        </p15:guide>
        <p15:guide id="6" orient="horz" pos="1680" userDrawn="1">
          <p15:clr>
            <a:srgbClr val="A4A3A4"/>
          </p15:clr>
        </p15:guide>
        <p15:guide id="9" orient="horz" pos="524" userDrawn="1">
          <p15:clr>
            <a:srgbClr val="A4A3A4"/>
          </p15:clr>
        </p15:guide>
        <p15:guide id="10" pos="7296" userDrawn="1">
          <p15:clr>
            <a:srgbClr val="A4A3A4"/>
          </p15:clr>
        </p15:guide>
        <p15:guide id="11" pos="381" userDrawn="1">
          <p15:clr>
            <a:srgbClr val="A4A3A4"/>
          </p15:clr>
        </p15:guide>
        <p15:guide id="12" pos="3840" userDrawn="1">
          <p15:clr>
            <a:srgbClr val="A4A3A4"/>
          </p15:clr>
        </p15:guide>
        <p15:guide id="13" pos="3771" userDrawn="1">
          <p15:clr>
            <a:srgbClr val="A4A3A4"/>
          </p15:clr>
        </p15:guide>
        <p15:guide id="14" pos="3909" userDrawn="1">
          <p15:clr>
            <a:srgbClr val="A4A3A4"/>
          </p15:clr>
        </p15:guide>
        <p15:guide id="15" pos="4944" userDrawn="1">
          <p15:clr>
            <a:srgbClr val="A4A3A4"/>
          </p15:clr>
        </p15:guide>
        <p15:guide id="16" pos="2592" userDrawn="1">
          <p15:clr>
            <a:srgbClr val="A4A3A4"/>
          </p15:clr>
        </p15:guide>
        <p15:guide id="18" pos="5077" userDrawn="1">
          <p15:clr>
            <a:srgbClr val="A4A3A4"/>
          </p15:clr>
        </p15:guide>
        <p15:guide id="19" pos="27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ynn Butler Bradford" initials="LB" lastIdx="1" clrIdx="0">
    <p:extLst>
      <p:ext uri="{19B8F6BF-5375-455C-9EA6-DF929625EA0E}">
        <p15:presenceInfo xmlns:p15="http://schemas.microsoft.com/office/powerpoint/2012/main" userId="Lynn Butler Bradford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2AA"/>
    <a:srgbClr val="C8102E"/>
    <a:srgbClr val="D9D9D6"/>
    <a:srgbClr val="008578"/>
    <a:srgbClr val="00B5E2"/>
    <a:srgbClr val="6CC24A"/>
    <a:srgbClr val="FE5000"/>
    <a:srgbClr val="EB6FBD"/>
    <a:srgbClr val="C800A1"/>
    <a:srgbClr val="00A3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778" y="58"/>
      </p:cViewPr>
      <p:guideLst>
        <p:guide orient="horz" pos="2160"/>
        <p:guide orient="horz" pos="240"/>
        <p:guide orient="horz" pos="1080"/>
        <p:guide orient="horz" pos="1680"/>
        <p:guide orient="horz" pos="524"/>
        <p:guide pos="7296"/>
        <p:guide pos="381"/>
        <p:guide pos="3840"/>
        <p:guide pos="3771"/>
        <p:guide pos="3909"/>
        <p:guide pos="4944"/>
        <p:guide pos="2592"/>
        <p:guide pos="5077"/>
        <p:guide pos="27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commentAuthors" Target="comment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penceley, Michael [JJCUS]" userId="bc909188-fc5f-49d0-afd7-9e0918fcd3f1" providerId="ADAL" clId="{D9C22FDC-D831-47F0-BC96-8FF582C9AEF7}"/>
    <pc:docChg chg="custSel addSld delSld modSld sldOrd modNotesMaster modHandout">
      <pc:chgData name="Spenceley, Michael [JJCUS]" userId="bc909188-fc5f-49d0-afd7-9e0918fcd3f1" providerId="ADAL" clId="{D9C22FDC-D831-47F0-BC96-8FF582C9AEF7}" dt="2023-01-13T17:06:49.920" v="1677" actId="20577"/>
      <pc:docMkLst>
        <pc:docMk/>
      </pc:docMkLst>
      <pc:sldChg chg="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0" sldId="272"/>
        </pc:sldMkLst>
      </pc:sldChg>
      <pc:sldChg chg="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660874549" sldId="307"/>
        </pc:sldMkLst>
      </pc:sldChg>
      <pc:sldChg chg="addSp modSp del">
        <pc:chgData name="Spenceley, Michael [JJCUS]" userId="bc909188-fc5f-49d0-afd7-9e0918fcd3f1" providerId="ADAL" clId="{D9C22FDC-D831-47F0-BC96-8FF582C9AEF7}" dt="2023-01-06T15:01:59.065" v="1578" actId="47"/>
        <pc:sldMkLst>
          <pc:docMk/>
          <pc:sldMk cId="1690653831" sldId="319"/>
        </pc:sldMkLst>
        <pc:spChg chg="add mod">
          <ac:chgData name="Spenceley, Michael [JJCUS]" userId="bc909188-fc5f-49d0-afd7-9e0918fcd3f1" providerId="ADAL" clId="{D9C22FDC-D831-47F0-BC96-8FF582C9AEF7}" dt="2022-12-21T13:24:11.083" v="1355"/>
          <ac:spMkLst>
            <pc:docMk/>
            <pc:sldMk cId="1690653831" sldId="319"/>
            <ac:spMk id="4" creationId="{B09D9C64-E04B-C352-EC99-B3FDAF8E8702}"/>
          </ac:spMkLst>
        </pc:spChg>
      </pc:sldChg>
      <pc:sldChg chg="modSp mod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1658501493" sldId="324"/>
        </pc:sldMkLst>
        <pc:spChg chg="mod">
          <ac:chgData name="Spenceley, Michael [JJCUS]" userId="bc909188-fc5f-49d0-afd7-9e0918fcd3f1" providerId="ADAL" clId="{D9C22FDC-D831-47F0-BC96-8FF582C9AEF7}" dt="2022-12-21T12:12:46.365" v="748" actId="20577"/>
          <ac:spMkLst>
            <pc:docMk/>
            <pc:sldMk cId="1658501493" sldId="324"/>
            <ac:spMk id="2" creationId="{00000000-0000-0000-0000-000000000000}"/>
          </ac:spMkLst>
        </pc:spChg>
        <pc:spChg chg="mod">
          <ac:chgData name="Spenceley, Michael [JJCUS]" userId="bc909188-fc5f-49d0-afd7-9e0918fcd3f1" providerId="ADAL" clId="{D9C22FDC-D831-47F0-BC96-8FF582C9AEF7}" dt="2023-01-06T13:57:59.295" v="1548" actId="20577"/>
          <ac:spMkLst>
            <pc:docMk/>
            <pc:sldMk cId="1658501493" sldId="324"/>
            <ac:spMk id="4" creationId="{00000000-0000-0000-0000-000000000000}"/>
          </ac:spMkLst>
        </pc:spChg>
      </pc:sldChg>
      <pc:sldChg chg="delSp modSp mod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2078776765" sldId="326"/>
        </pc:sldMkLst>
        <pc:spChg chg="del">
          <ac:chgData name="Spenceley, Michael [JJCUS]" userId="bc909188-fc5f-49d0-afd7-9e0918fcd3f1" providerId="ADAL" clId="{D9C22FDC-D831-47F0-BC96-8FF582C9AEF7}" dt="2022-12-16T12:47:08.784" v="192" actId="478"/>
          <ac:spMkLst>
            <pc:docMk/>
            <pc:sldMk cId="2078776765" sldId="326"/>
            <ac:spMk id="12" creationId="{803C75DB-F580-49E0-A43E-3F24186D699D}"/>
          </ac:spMkLst>
        </pc:spChg>
        <pc:spChg chg="mod">
          <ac:chgData name="Spenceley, Michael [JJCUS]" userId="bc909188-fc5f-49d0-afd7-9e0918fcd3f1" providerId="ADAL" clId="{D9C22FDC-D831-47F0-BC96-8FF582C9AEF7}" dt="2022-12-21T12:37:27.758" v="1274" actId="1037"/>
          <ac:spMkLst>
            <pc:docMk/>
            <pc:sldMk cId="2078776765" sldId="326"/>
            <ac:spMk id="24" creationId="{E431C805-E169-4650-91BE-25E06DCC6EB6}"/>
          </ac:spMkLst>
        </pc:spChg>
        <pc:spChg chg="mod">
          <ac:chgData name="Spenceley, Michael [JJCUS]" userId="bc909188-fc5f-49d0-afd7-9e0918fcd3f1" providerId="ADAL" clId="{D9C22FDC-D831-47F0-BC96-8FF582C9AEF7}" dt="2022-12-21T12:37:27.758" v="1274" actId="1037"/>
          <ac:spMkLst>
            <pc:docMk/>
            <pc:sldMk cId="2078776765" sldId="326"/>
            <ac:spMk id="25" creationId="{FBEF13FC-AEE9-48D9-921B-60CFEF8603DA}"/>
          </ac:spMkLst>
        </pc:spChg>
        <pc:spChg chg="mod">
          <ac:chgData name="Spenceley, Michael [JJCUS]" userId="bc909188-fc5f-49d0-afd7-9e0918fcd3f1" providerId="ADAL" clId="{D9C22FDC-D831-47F0-BC96-8FF582C9AEF7}" dt="2022-12-21T12:37:27.758" v="1274" actId="1037"/>
          <ac:spMkLst>
            <pc:docMk/>
            <pc:sldMk cId="2078776765" sldId="326"/>
            <ac:spMk id="26" creationId="{F3F8F9DC-1883-429F-8B0E-3FDBBE8518DF}"/>
          </ac:spMkLst>
        </pc:spChg>
        <pc:spChg chg="mod">
          <ac:chgData name="Spenceley, Michael [JJCUS]" userId="bc909188-fc5f-49d0-afd7-9e0918fcd3f1" providerId="ADAL" clId="{D9C22FDC-D831-47F0-BC96-8FF582C9AEF7}" dt="2022-12-21T12:37:27.758" v="1274" actId="1037"/>
          <ac:spMkLst>
            <pc:docMk/>
            <pc:sldMk cId="2078776765" sldId="326"/>
            <ac:spMk id="28" creationId="{E72FE03C-FA3F-47BE-AE5B-448AC281F978}"/>
          </ac:spMkLst>
        </pc:spChg>
        <pc:spChg chg="mod">
          <ac:chgData name="Spenceley, Michael [JJCUS]" userId="bc909188-fc5f-49d0-afd7-9e0918fcd3f1" providerId="ADAL" clId="{D9C22FDC-D831-47F0-BC96-8FF582C9AEF7}" dt="2022-12-21T12:37:27.758" v="1274" actId="1037"/>
          <ac:spMkLst>
            <pc:docMk/>
            <pc:sldMk cId="2078776765" sldId="326"/>
            <ac:spMk id="29" creationId="{26BCCD0D-03C4-417D-A973-91BC816E0680}"/>
          </ac:spMkLst>
        </pc:spChg>
        <pc:graphicFrameChg chg="mod modGraphic">
          <ac:chgData name="Spenceley, Michael [JJCUS]" userId="bc909188-fc5f-49d0-afd7-9e0918fcd3f1" providerId="ADAL" clId="{D9C22FDC-D831-47F0-BC96-8FF582C9AEF7}" dt="2022-12-21T12:37:34.441" v="1275" actId="1076"/>
          <ac:graphicFrameMkLst>
            <pc:docMk/>
            <pc:sldMk cId="2078776765" sldId="326"/>
            <ac:graphicFrameMk id="27" creationId="{2836ED41-B8D6-0343-9E8E-E934EEF7775B}"/>
          </ac:graphicFrameMkLst>
        </pc:graphicFrameChg>
      </pc:sldChg>
      <pc:sldChg chg="addSp delSp modSp mod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3851061809" sldId="330"/>
        </pc:sldMkLst>
        <pc:spChg chg="mod">
          <ac:chgData name="Spenceley, Michael [JJCUS]" userId="bc909188-fc5f-49d0-afd7-9e0918fcd3f1" providerId="ADAL" clId="{D9C22FDC-D831-47F0-BC96-8FF582C9AEF7}" dt="2022-12-21T12:15:57.766" v="777" actId="20577"/>
          <ac:spMkLst>
            <pc:docMk/>
            <pc:sldMk cId="3851061809" sldId="330"/>
            <ac:spMk id="2" creationId="{00000000-0000-0000-0000-000000000000}"/>
          </ac:spMkLst>
        </pc:spChg>
        <pc:spChg chg="add mod">
          <ac:chgData name="Spenceley, Michael [JJCUS]" userId="bc909188-fc5f-49d0-afd7-9e0918fcd3f1" providerId="ADAL" clId="{D9C22FDC-D831-47F0-BC96-8FF582C9AEF7}" dt="2022-12-21T13:16:49.796" v="1317"/>
          <ac:spMkLst>
            <pc:docMk/>
            <pc:sldMk cId="3851061809" sldId="330"/>
            <ac:spMk id="3" creationId="{D2E796F5-5D9A-F21F-0EDA-BD7B28DD6831}"/>
          </ac:spMkLst>
        </pc:spChg>
        <pc:spChg chg="add mod">
          <ac:chgData name="Spenceley, Michael [JJCUS]" userId="bc909188-fc5f-49d0-afd7-9e0918fcd3f1" providerId="ADAL" clId="{D9C22FDC-D831-47F0-BC96-8FF582C9AEF7}" dt="2022-12-21T13:17:11.490" v="1318"/>
          <ac:spMkLst>
            <pc:docMk/>
            <pc:sldMk cId="3851061809" sldId="330"/>
            <ac:spMk id="4" creationId="{2D9FA15D-A90C-9C82-806C-838ED35DBABB}"/>
          </ac:spMkLst>
        </pc:spChg>
        <pc:spChg chg="add mod">
          <ac:chgData name="Spenceley, Michael [JJCUS]" userId="bc909188-fc5f-49d0-afd7-9e0918fcd3f1" providerId="ADAL" clId="{D9C22FDC-D831-47F0-BC96-8FF582C9AEF7}" dt="2022-12-21T13:17:40.848" v="1319"/>
          <ac:spMkLst>
            <pc:docMk/>
            <pc:sldMk cId="3851061809" sldId="330"/>
            <ac:spMk id="5" creationId="{138964A8-C991-F31B-79E9-5B397DDB6E5E}"/>
          </ac:spMkLst>
        </pc:spChg>
        <pc:spChg chg="add mod">
          <ac:chgData name="Spenceley, Michael [JJCUS]" userId="bc909188-fc5f-49d0-afd7-9e0918fcd3f1" providerId="ADAL" clId="{D9C22FDC-D831-47F0-BC96-8FF582C9AEF7}" dt="2022-12-21T13:18:14.681" v="1320"/>
          <ac:spMkLst>
            <pc:docMk/>
            <pc:sldMk cId="3851061809" sldId="330"/>
            <ac:spMk id="7" creationId="{3A6FAC6B-168A-17FC-E7D1-33C0CCAB04BF}"/>
          </ac:spMkLst>
        </pc:spChg>
        <pc:spChg chg="add del mod">
          <ac:chgData name="Spenceley, Michael [JJCUS]" userId="bc909188-fc5f-49d0-afd7-9e0918fcd3f1" providerId="ADAL" clId="{D9C22FDC-D831-47F0-BC96-8FF582C9AEF7}" dt="2022-12-16T12:57:57.500" v="506" actId="478"/>
          <ac:spMkLst>
            <pc:docMk/>
            <pc:sldMk cId="3851061809" sldId="330"/>
            <ac:spMk id="8" creationId="{EFD0D8A9-B1A6-5E0F-ED93-8CC9A8D263B0}"/>
          </ac:spMkLst>
        </pc:spChg>
        <pc:spChg chg="add mod">
          <ac:chgData name="Spenceley, Michael [JJCUS]" userId="bc909188-fc5f-49d0-afd7-9e0918fcd3f1" providerId="ADAL" clId="{D9C22FDC-D831-47F0-BC96-8FF582C9AEF7}" dt="2022-12-21T13:15:05.958" v="1314" actId="20577"/>
          <ac:spMkLst>
            <pc:docMk/>
            <pc:sldMk cId="3851061809" sldId="330"/>
            <ac:spMk id="9" creationId="{EE4B7C1C-969D-0269-14F8-98359DDF4984}"/>
          </ac:spMkLst>
        </pc:spChg>
        <pc:spChg chg="add mod">
          <ac:chgData name="Spenceley, Michael [JJCUS]" userId="bc909188-fc5f-49d0-afd7-9e0918fcd3f1" providerId="ADAL" clId="{D9C22FDC-D831-47F0-BC96-8FF582C9AEF7}" dt="2022-12-21T13:15:02.865" v="1313" actId="20577"/>
          <ac:spMkLst>
            <pc:docMk/>
            <pc:sldMk cId="3851061809" sldId="330"/>
            <ac:spMk id="10" creationId="{6A59E7AE-909E-F135-D2B5-264770D4A82E}"/>
          </ac:spMkLst>
        </pc:spChg>
        <pc:spChg chg="add mod">
          <ac:chgData name="Spenceley, Michael [JJCUS]" userId="bc909188-fc5f-49d0-afd7-9e0918fcd3f1" providerId="ADAL" clId="{D9C22FDC-D831-47F0-BC96-8FF582C9AEF7}" dt="2022-12-21T13:15:00.876" v="1312" actId="20577"/>
          <ac:spMkLst>
            <pc:docMk/>
            <pc:sldMk cId="3851061809" sldId="330"/>
            <ac:spMk id="11" creationId="{26F2B5E5-BF5D-4825-1AF5-80BCCE288D3A}"/>
          </ac:spMkLst>
        </pc:spChg>
        <pc:spChg chg="add mod">
          <ac:chgData name="Spenceley, Michael [JJCUS]" userId="bc909188-fc5f-49d0-afd7-9e0918fcd3f1" providerId="ADAL" clId="{D9C22FDC-D831-47F0-BC96-8FF582C9AEF7}" dt="2022-12-21T13:14:57.023" v="1311" actId="20577"/>
          <ac:spMkLst>
            <pc:docMk/>
            <pc:sldMk cId="3851061809" sldId="330"/>
            <ac:spMk id="12" creationId="{876CD47D-DC24-9571-EC43-F395FAC4399B}"/>
          </ac:spMkLst>
        </pc:spChg>
        <pc:spChg chg="del mod">
          <ac:chgData name="Spenceley, Michael [JJCUS]" userId="bc909188-fc5f-49d0-afd7-9e0918fcd3f1" providerId="ADAL" clId="{D9C22FDC-D831-47F0-BC96-8FF582C9AEF7}" dt="2022-12-21T12:25:13.121" v="1100" actId="478"/>
          <ac:spMkLst>
            <pc:docMk/>
            <pc:sldMk cId="3851061809" sldId="330"/>
            <ac:spMk id="19" creationId="{73D8B59A-66CB-4B16-B6CA-D30D580A7AEE}"/>
          </ac:spMkLst>
        </pc:spChg>
        <pc:spChg chg="mod">
          <ac:chgData name="Spenceley, Michael [JJCUS]" userId="bc909188-fc5f-49d0-afd7-9e0918fcd3f1" providerId="ADAL" clId="{D9C22FDC-D831-47F0-BC96-8FF582C9AEF7}" dt="2022-12-21T13:15:08.323" v="1315" actId="20577"/>
          <ac:spMkLst>
            <pc:docMk/>
            <pc:sldMk cId="3851061809" sldId="330"/>
            <ac:spMk id="20" creationId="{0493CD8D-8ABA-480E-AE9B-60A711CB235A}"/>
          </ac:spMkLst>
        </pc:spChg>
        <pc:spChg chg="del mod">
          <ac:chgData name="Spenceley, Michael [JJCUS]" userId="bc909188-fc5f-49d0-afd7-9e0918fcd3f1" providerId="ADAL" clId="{D9C22FDC-D831-47F0-BC96-8FF582C9AEF7}" dt="2022-12-16T12:55:31.243" v="370" actId="478"/>
          <ac:spMkLst>
            <pc:docMk/>
            <pc:sldMk cId="3851061809" sldId="330"/>
            <ac:spMk id="21" creationId="{C45F7A1D-6C35-44D2-8C70-D0943BF86AE5}"/>
          </ac:spMkLst>
        </pc:spChg>
        <pc:spChg chg="mod">
          <ac:chgData name="Spenceley, Michael [JJCUS]" userId="bc909188-fc5f-49d0-afd7-9e0918fcd3f1" providerId="ADAL" clId="{D9C22FDC-D831-47F0-BC96-8FF582C9AEF7}" dt="2022-12-21T12:25:22.857" v="1102" actId="14100"/>
          <ac:spMkLst>
            <pc:docMk/>
            <pc:sldMk cId="3851061809" sldId="330"/>
            <ac:spMk id="25" creationId="{B2613857-D4DC-4B6F-B4D2-ED66B54696AE}"/>
          </ac:spMkLst>
        </pc:spChg>
        <pc:spChg chg="mod">
          <ac:chgData name="Spenceley, Michael [JJCUS]" userId="bc909188-fc5f-49d0-afd7-9e0918fcd3f1" providerId="ADAL" clId="{D9C22FDC-D831-47F0-BC96-8FF582C9AEF7}" dt="2022-12-21T12:23:05.345" v="1097" actId="20577"/>
          <ac:spMkLst>
            <pc:docMk/>
            <pc:sldMk cId="3851061809" sldId="330"/>
            <ac:spMk id="26" creationId="{8DA81285-6051-4E5E-AEAB-83D5D9EFD3E9}"/>
          </ac:spMkLst>
        </pc:spChg>
        <pc:spChg chg="mod">
          <ac:chgData name="Spenceley, Michael [JJCUS]" userId="bc909188-fc5f-49d0-afd7-9e0918fcd3f1" providerId="ADAL" clId="{D9C22FDC-D831-47F0-BC96-8FF582C9AEF7}" dt="2022-12-21T13:15:52.762" v="1316"/>
          <ac:spMkLst>
            <pc:docMk/>
            <pc:sldMk cId="3851061809" sldId="330"/>
            <ac:spMk id="27" creationId="{CD822F84-404F-4B6C-AEC3-67756F2EC6B0}"/>
          </ac:spMkLst>
        </pc:spChg>
        <pc:grpChg chg="del mod">
          <ac:chgData name="Spenceley, Michael [JJCUS]" userId="bc909188-fc5f-49d0-afd7-9e0918fcd3f1" providerId="ADAL" clId="{D9C22FDC-D831-47F0-BC96-8FF582C9AEF7}" dt="2022-12-16T12:55:07.569" v="361" actId="478"/>
          <ac:grpSpMkLst>
            <pc:docMk/>
            <pc:sldMk cId="3851061809" sldId="330"/>
            <ac:grpSpMk id="22" creationId="{F86C4E72-2DF5-4B65-8B2E-9BA84D762078}"/>
          </ac:grpSpMkLst>
        </pc:grpChg>
      </pc:sldChg>
      <pc:sldChg chg="modSp mod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2342052813" sldId="342"/>
        </pc:sldMkLst>
        <pc:spChg chg="mod">
          <ac:chgData name="Spenceley, Michael [JJCUS]" userId="bc909188-fc5f-49d0-afd7-9e0918fcd3f1" providerId="ADAL" clId="{D9C22FDC-D831-47F0-BC96-8FF582C9AEF7}" dt="2022-12-21T13:03:09.108" v="1276" actId="20577"/>
          <ac:spMkLst>
            <pc:docMk/>
            <pc:sldMk cId="2342052813" sldId="342"/>
            <ac:spMk id="10" creationId="{90352505-A268-804B-B824-4D8B46AB2793}"/>
          </ac:spMkLst>
        </pc:spChg>
        <pc:spChg chg="mod">
          <ac:chgData name="Spenceley, Michael [JJCUS]" userId="bc909188-fc5f-49d0-afd7-9e0918fcd3f1" providerId="ADAL" clId="{D9C22FDC-D831-47F0-BC96-8FF582C9AEF7}" dt="2022-12-16T12:45:39.228" v="57" actId="20577"/>
          <ac:spMkLst>
            <pc:docMk/>
            <pc:sldMk cId="2342052813" sldId="342"/>
            <ac:spMk id="12" creationId="{2A17EC1D-150B-43D2-BE8F-B851E973EC24}"/>
          </ac:spMkLst>
        </pc:spChg>
      </pc:sldChg>
      <pc:sldChg chg="addSp modSp mod ord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4096945886" sldId="362"/>
        </pc:sldMkLst>
        <pc:spChg chg="mod">
          <ac:chgData name="Spenceley, Michael [JJCUS]" userId="bc909188-fc5f-49d0-afd7-9e0918fcd3f1" providerId="ADAL" clId="{D9C22FDC-D831-47F0-BC96-8FF582C9AEF7}" dt="2022-12-21T12:30:49.394" v="1140" actId="20577"/>
          <ac:spMkLst>
            <pc:docMk/>
            <pc:sldMk cId="4096945886" sldId="362"/>
            <ac:spMk id="2" creationId="{00000000-0000-0000-0000-000000000000}"/>
          </ac:spMkLst>
        </pc:spChg>
        <pc:spChg chg="add mod">
          <ac:chgData name="Spenceley, Michael [JJCUS]" userId="bc909188-fc5f-49d0-afd7-9e0918fcd3f1" providerId="ADAL" clId="{D9C22FDC-D831-47F0-BC96-8FF582C9AEF7}" dt="2022-12-21T13:25:43.426" v="1363"/>
          <ac:spMkLst>
            <pc:docMk/>
            <pc:sldMk cId="4096945886" sldId="362"/>
            <ac:spMk id="3" creationId="{1AB19A96-EEC4-B9DE-B185-0FCEDD216892}"/>
          </ac:spMkLst>
        </pc:spChg>
        <pc:spChg chg="mod">
          <ac:chgData name="Spenceley, Michael [JJCUS]" userId="bc909188-fc5f-49d0-afd7-9e0918fcd3f1" providerId="ADAL" clId="{D9C22FDC-D831-47F0-BC96-8FF582C9AEF7}" dt="2023-01-06T14:49:40.614" v="1577" actId="6549"/>
          <ac:spMkLst>
            <pc:docMk/>
            <pc:sldMk cId="4096945886" sldId="362"/>
            <ac:spMk id="19" creationId="{73D8B59A-66CB-4B16-B6CA-D30D580A7AEE}"/>
          </ac:spMkLst>
        </pc:spChg>
      </pc:sldChg>
      <pc:sldChg chg="addSp modSp">
        <pc:chgData name="Spenceley, Michael [JJCUS]" userId="bc909188-fc5f-49d0-afd7-9e0918fcd3f1" providerId="ADAL" clId="{D9C22FDC-D831-47F0-BC96-8FF582C9AEF7}" dt="2022-12-21T13:24:57.824" v="1359"/>
        <pc:sldMkLst>
          <pc:docMk/>
          <pc:sldMk cId="3798303587" sldId="2141411572"/>
        </pc:sldMkLst>
        <pc:spChg chg="add mod">
          <ac:chgData name="Spenceley, Michael [JJCUS]" userId="bc909188-fc5f-49d0-afd7-9e0918fcd3f1" providerId="ADAL" clId="{D9C22FDC-D831-47F0-BC96-8FF582C9AEF7}" dt="2022-12-21T13:24:57.824" v="1359"/>
          <ac:spMkLst>
            <pc:docMk/>
            <pc:sldMk cId="3798303587" sldId="2141411572"/>
            <ac:spMk id="3" creationId="{D2F0CC99-7C0A-1B6F-0A18-0699BF7C4135}"/>
          </ac:spMkLst>
        </pc:spChg>
      </pc:sldChg>
      <pc:sldChg chg="addSp modSp del mod">
        <pc:chgData name="Spenceley, Michael [JJCUS]" userId="bc909188-fc5f-49d0-afd7-9e0918fcd3f1" providerId="ADAL" clId="{D9C22FDC-D831-47F0-BC96-8FF582C9AEF7}" dt="2023-01-06T15:02:06.242" v="1579" actId="47"/>
        <pc:sldMkLst>
          <pc:docMk/>
          <pc:sldMk cId="2017109576" sldId="2141411589"/>
        </pc:sldMkLst>
        <pc:spChg chg="add mod">
          <ac:chgData name="Spenceley, Michael [JJCUS]" userId="bc909188-fc5f-49d0-afd7-9e0918fcd3f1" providerId="ADAL" clId="{D9C22FDC-D831-47F0-BC96-8FF582C9AEF7}" dt="2022-12-21T13:24:21.730" v="1356"/>
          <ac:spMkLst>
            <pc:docMk/>
            <pc:sldMk cId="2017109576" sldId="2141411589"/>
            <ac:spMk id="2" creationId="{290CFC97-0461-9CD5-AAEF-FB41A5275C9B}"/>
          </ac:spMkLst>
        </pc:spChg>
        <pc:spChg chg="mod">
          <ac:chgData name="Spenceley, Michael [JJCUS]" userId="bc909188-fc5f-49d0-afd7-9e0918fcd3f1" providerId="ADAL" clId="{D9C22FDC-D831-47F0-BC96-8FF582C9AEF7}" dt="2022-12-16T13:00:08.564" v="694" actId="20577"/>
          <ac:spMkLst>
            <pc:docMk/>
            <pc:sldMk cId="2017109576" sldId="2141411589"/>
            <ac:spMk id="8" creationId="{00000000-0000-0000-0000-000000000000}"/>
          </ac:spMkLst>
        </pc:spChg>
      </pc:sldChg>
      <pc:sldChg chg="del">
        <pc:chgData name="Spenceley, Michael [JJCUS]" userId="bc909188-fc5f-49d0-afd7-9e0918fcd3f1" providerId="ADAL" clId="{D9C22FDC-D831-47F0-BC96-8FF582C9AEF7}" dt="2022-12-16T12:48:13.491" v="194" actId="47"/>
        <pc:sldMkLst>
          <pc:docMk/>
          <pc:sldMk cId="1412202415" sldId="2146848844"/>
        </pc:sldMkLst>
      </pc:sldChg>
      <pc:sldChg chg="addSp delSp modSp mod ord">
        <pc:chgData name="Spenceley, Michael [JJCUS]" userId="bc909188-fc5f-49d0-afd7-9e0918fcd3f1" providerId="ADAL" clId="{D9C22FDC-D831-47F0-BC96-8FF582C9AEF7}" dt="2023-01-13T17:06:49.920" v="1677" actId="20577"/>
        <pc:sldMkLst>
          <pc:docMk/>
          <pc:sldMk cId="1609200225" sldId="2147375624"/>
        </pc:sldMkLst>
        <pc:spChg chg="add del mod">
          <ac:chgData name="Spenceley, Michael [JJCUS]" userId="bc909188-fc5f-49d0-afd7-9e0918fcd3f1" providerId="ADAL" clId="{D9C22FDC-D831-47F0-BC96-8FF582C9AEF7}" dt="2022-12-21T13:21:22.786" v="1335" actId="478"/>
          <ac:spMkLst>
            <pc:docMk/>
            <pc:sldMk cId="1609200225" sldId="2147375624"/>
            <ac:spMk id="2" creationId="{5CC76EDD-9E7E-EB56-5192-4DFB36CFE410}"/>
          </ac:spMkLst>
        </pc:spChg>
        <pc:spChg chg="mod">
          <ac:chgData name="Spenceley, Michael [JJCUS]" userId="bc909188-fc5f-49d0-afd7-9e0918fcd3f1" providerId="ADAL" clId="{D9C22FDC-D831-47F0-BC96-8FF582C9AEF7}" dt="2023-01-13T17:06:49.920" v="1677" actId="20577"/>
          <ac:spMkLst>
            <pc:docMk/>
            <pc:sldMk cId="1609200225" sldId="2147375624"/>
            <ac:spMk id="10" creationId="{E23A1A17-C8AE-4A19-B147-4A8675DBEB69}"/>
          </ac:spMkLst>
        </pc:spChg>
        <pc:spChg chg="add mod">
          <ac:chgData name="Spenceley, Michael [JJCUS]" userId="bc909188-fc5f-49d0-afd7-9e0918fcd3f1" providerId="ADAL" clId="{D9C22FDC-D831-47F0-BC96-8FF582C9AEF7}" dt="2022-12-21T13:23:59.243" v="1354"/>
          <ac:spMkLst>
            <pc:docMk/>
            <pc:sldMk cId="1609200225" sldId="2147375624"/>
            <ac:spMk id="11" creationId="{95336A8D-2E40-15AF-1FE6-D6F7FE9CD870}"/>
          </ac:spMkLst>
        </pc:spChg>
      </pc:sldChg>
      <pc:sldChg chg="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3923857243" sldId="2147469429"/>
        </pc:sldMkLst>
      </pc:sldChg>
      <pc:sldChg chg="del">
        <pc:chgData name="Spenceley, Michael [JJCUS]" userId="bc909188-fc5f-49d0-afd7-9e0918fcd3f1" providerId="ADAL" clId="{D9C22FDC-D831-47F0-BC96-8FF582C9AEF7}" dt="2022-12-16T13:01:51.687" v="707" actId="47"/>
        <pc:sldMkLst>
          <pc:docMk/>
          <pc:sldMk cId="2644365481" sldId="2147469430"/>
        </pc:sldMkLst>
      </pc:sldChg>
      <pc:sldChg chg="modSp mod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677136483" sldId="2147469432"/>
        </pc:sldMkLst>
        <pc:spChg chg="mod">
          <ac:chgData name="Spenceley, Michael [JJCUS]" userId="bc909188-fc5f-49d0-afd7-9e0918fcd3f1" providerId="ADAL" clId="{D9C22FDC-D831-47F0-BC96-8FF582C9AEF7}" dt="2022-12-16T12:48:39.749" v="214" actId="20577"/>
          <ac:spMkLst>
            <pc:docMk/>
            <pc:sldMk cId="677136483" sldId="2147469432"/>
            <ac:spMk id="3" creationId="{00000000-0000-0000-0000-000000000000}"/>
          </ac:spMkLst>
        </pc:spChg>
      </pc:sldChg>
      <pc:sldChg chg="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400385410" sldId="2147469435"/>
        </pc:sldMkLst>
      </pc:sldChg>
      <pc:sldChg chg="del">
        <pc:chgData name="Spenceley, Michael [JJCUS]" userId="bc909188-fc5f-49d0-afd7-9e0918fcd3f1" providerId="ADAL" clId="{D9C22FDC-D831-47F0-BC96-8FF582C9AEF7}" dt="2023-01-06T13:49:56.127" v="1450" actId="47"/>
        <pc:sldMkLst>
          <pc:docMk/>
          <pc:sldMk cId="4208954333" sldId="2147469436"/>
        </pc:sldMkLst>
      </pc:sldChg>
      <pc:sldChg chg="modSp mod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1915827004" sldId="2147469437"/>
        </pc:sldMkLst>
        <pc:spChg chg="mod">
          <ac:chgData name="Spenceley, Michael [JJCUS]" userId="bc909188-fc5f-49d0-afd7-9e0918fcd3f1" providerId="ADAL" clId="{D9C22FDC-D831-47F0-BC96-8FF582C9AEF7}" dt="2023-01-06T13:34:09.170" v="1423" actId="5793"/>
          <ac:spMkLst>
            <pc:docMk/>
            <pc:sldMk cId="1915827004" sldId="2147469437"/>
            <ac:spMk id="5" creationId="{1A1094A7-6288-49D3-BE84-A836EE51F185}"/>
          </ac:spMkLst>
        </pc:spChg>
        <pc:spChg chg="mod">
          <ac:chgData name="Spenceley, Michael [JJCUS]" userId="bc909188-fc5f-49d0-afd7-9e0918fcd3f1" providerId="ADAL" clId="{D9C22FDC-D831-47F0-BC96-8FF582C9AEF7}" dt="2023-01-06T13:48:53.353" v="1449" actId="20577"/>
          <ac:spMkLst>
            <pc:docMk/>
            <pc:sldMk cId="1915827004" sldId="2147469437"/>
            <ac:spMk id="6" creationId="{00000000-0000-0000-0000-000000000000}"/>
          </ac:spMkLst>
        </pc:spChg>
        <pc:spChg chg="mod">
          <ac:chgData name="Spenceley, Michael [JJCUS]" userId="bc909188-fc5f-49d0-afd7-9e0918fcd3f1" providerId="ADAL" clId="{D9C22FDC-D831-47F0-BC96-8FF582C9AEF7}" dt="2023-01-06T13:53:09.762" v="1546" actId="6549"/>
          <ac:spMkLst>
            <pc:docMk/>
            <pc:sldMk cId="1915827004" sldId="2147469437"/>
            <ac:spMk id="9" creationId="{FC2B8106-6293-41A9-A9D5-7711D0C74878}"/>
          </ac:spMkLst>
        </pc:spChg>
      </pc:sldChg>
      <pc:sldChg chg="del">
        <pc:chgData name="Spenceley, Michael [JJCUS]" userId="bc909188-fc5f-49d0-afd7-9e0918fcd3f1" providerId="ADAL" clId="{D9C22FDC-D831-47F0-BC96-8FF582C9AEF7}" dt="2022-12-16T12:51:57.282" v="216" actId="47"/>
        <pc:sldMkLst>
          <pc:docMk/>
          <pc:sldMk cId="1696390175" sldId="2147469438"/>
        </pc:sldMkLst>
      </pc:sldChg>
      <pc:sldChg chg="addSp modSp mod ord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1871565125" sldId="2147469441"/>
        </pc:sldMkLst>
        <pc:spChg chg="add mod">
          <ac:chgData name="Spenceley, Michael [JJCUS]" userId="bc909188-fc5f-49d0-afd7-9e0918fcd3f1" providerId="ADAL" clId="{D9C22FDC-D831-47F0-BC96-8FF582C9AEF7}" dt="2022-12-21T13:24:33.991" v="1357"/>
          <ac:spMkLst>
            <pc:docMk/>
            <pc:sldMk cId="1871565125" sldId="2147469441"/>
            <ac:spMk id="3" creationId="{4C064E9E-9120-E414-B39B-3242101EA84B}"/>
          </ac:spMkLst>
        </pc:spChg>
        <pc:spChg chg="mod">
          <ac:chgData name="Spenceley, Michael [JJCUS]" userId="bc909188-fc5f-49d0-afd7-9e0918fcd3f1" providerId="ADAL" clId="{D9C22FDC-D831-47F0-BC96-8FF582C9AEF7}" dt="2023-01-06T15:10:39.666" v="1604" actId="20577"/>
          <ac:spMkLst>
            <pc:docMk/>
            <pc:sldMk cId="1871565125" sldId="2147469441"/>
            <ac:spMk id="7" creationId="{A1139119-D148-4141-A97F-2C2CE4D056E5}"/>
          </ac:spMkLst>
        </pc:spChg>
        <pc:graphicFrameChg chg="mod">
          <ac:chgData name="Spenceley, Michael [JJCUS]" userId="bc909188-fc5f-49d0-afd7-9e0918fcd3f1" providerId="ADAL" clId="{D9C22FDC-D831-47F0-BC96-8FF582C9AEF7}" dt="2023-01-06T19:11:56.767" v="1652" actId="20577"/>
          <ac:graphicFrameMkLst>
            <pc:docMk/>
            <pc:sldMk cId="1871565125" sldId="2147469441"/>
            <ac:graphicFrameMk id="2" creationId="{997A8A10-C893-4B9B-84F0-7A31E8722E7A}"/>
          </ac:graphicFrameMkLst>
        </pc:graphicFrameChg>
      </pc:sldChg>
      <pc:sldChg chg="addSp modSp mod ord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3682150610" sldId="2147469442"/>
        </pc:sldMkLst>
        <pc:spChg chg="add mod">
          <ac:chgData name="Spenceley, Michael [JJCUS]" userId="bc909188-fc5f-49d0-afd7-9e0918fcd3f1" providerId="ADAL" clId="{D9C22FDC-D831-47F0-BC96-8FF582C9AEF7}" dt="2022-12-21T13:24:44.899" v="1358"/>
          <ac:spMkLst>
            <pc:docMk/>
            <pc:sldMk cId="3682150610" sldId="2147469442"/>
            <ac:spMk id="2" creationId="{63F55E3F-D797-F383-34AF-CA6F04FD909B}"/>
          </ac:spMkLst>
        </pc:spChg>
        <pc:spChg chg="mod">
          <ac:chgData name="Spenceley, Michael [JJCUS]" userId="bc909188-fc5f-49d0-afd7-9e0918fcd3f1" providerId="ADAL" clId="{D9C22FDC-D831-47F0-BC96-8FF582C9AEF7}" dt="2023-01-06T15:12:44.923" v="1636" actId="20577"/>
          <ac:spMkLst>
            <pc:docMk/>
            <pc:sldMk cId="3682150610" sldId="2147469442"/>
            <ac:spMk id="5" creationId="{924A5A8E-FB38-43BB-9F42-91D8DB37ED36}"/>
          </ac:spMkLst>
        </pc:spChg>
        <pc:spChg chg="mod">
          <ac:chgData name="Spenceley, Michael [JJCUS]" userId="bc909188-fc5f-49d0-afd7-9e0918fcd3f1" providerId="ADAL" clId="{D9C22FDC-D831-47F0-BC96-8FF582C9AEF7}" dt="2023-01-06T15:09:41.563" v="1588" actId="20577"/>
          <ac:spMkLst>
            <pc:docMk/>
            <pc:sldMk cId="3682150610" sldId="2147469442"/>
            <ac:spMk id="9" creationId="{FC2B8106-6293-41A9-A9D5-7711D0C74878}"/>
          </ac:spMkLst>
        </pc:spChg>
      </pc:sldChg>
      <pc:sldChg chg="addSp modSp mod ord modNotes">
        <pc:chgData name="Spenceley, Michael [JJCUS]" userId="bc909188-fc5f-49d0-afd7-9e0918fcd3f1" providerId="ADAL" clId="{D9C22FDC-D831-47F0-BC96-8FF582C9AEF7}" dt="2023-01-13T15:26:43.005" v="1663" actId="6549"/>
        <pc:sldMkLst>
          <pc:docMk/>
          <pc:sldMk cId="3422398909" sldId="2147469443"/>
        </pc:sldMkLst>
        <pc:spChg chg="add mod">
          <ac:chgData name="Spenceley, Michael [JJCUS]" userId="bc909188-fc5f-49d0-afd7-9e0918fcd3f1" providerId="ADAL" clId="{D9C22FDC-D831-47F0-BC96-8FF582C9AEF7}" dt="2022-12-21T13:25:32.467" v="1362"/>
          <ac:spMkLst>
            <pc:docMk/>
            <pc:sldMk cId="3422398909" sldId="2147469443"/>
            <ac:spMk id="3" creationId="{CFD808AB-9E3C-E6E1-056F-2A2AD0444492}"/>
          </ac:spMkLst>
        </pc:spChg>
        <pc:spChg chg="mod">
          <ac:chgData name="Spenceley, Michael [JJCUS]" userId="bc909188-fc5f-49d0-afd7-9e0918fcd3f1" providerId="ADAL" clId="{D9C22FDC-D831-47F0-BC96-8FF582C9AEF7}" dt="2023-01-13T15:26:43.005" v="1663" actId="6549"/>
          <ac:spMkLst>
            <pc:docMk/>
            <pc:sldMk cId="3422398909" sldId="2147469443"/>
            <ac:spMk id="9" creationId="{FC2B8106-6293-41A9-A9D5-7711D0C74878}"/>
          </ac:spMkLst>
        </pc:spChg>
        <pc:graphicFrameChg chg="mod">
          <ac:chgData name="Spenceley, Michael [JJCUS]" userId="bc909188-fc5f-49d0-afd7-9e0918fcd3f1" providerId="ADAL" clId="{D9C22FDC-D831-47F0-BC96-8FF582C9AEF7}" dt="2022-12-21T13:20:32.781" v="1330" actId="1076"/>
          <ac:graphicFrameMkLst>
            <pc:docMk/>
            <pc:sldMk cId="3422398909" sldId="2147469443"/>
            <ac:graphicFrameMk id="2" creationId="{423E48CA-67CE-4412-9162-5BD60C305BA6}"/>
          </ac:graphicFrameMkLst>
        </pc:graphicFrameChg>
      </pc:sldChg>
      <pc:sldChg chg="addSp modSp ord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3332747795" sldId="2147469445"/>
        </pc:sldMkLst>
        <pc:spChg chg="add mod">
          <ac:chgData name="Spenceley, Michael [JJCUS]" userId="bc909188-fc5f-49d0-afd7-9e0918fcd3f1" providerId="ADAL" clId="{D9C22FDC-D831-47F0-BC96-8FF582C9AEF7}" dt="2022-12-21T13:25:11.342" v="1360"/>
          <ac:spMkLst>
            <pc:docMk/>
            <pc:sldMk cId="3332747795" sldId="2147469445"/>
            <ac:spMk id="2" creationId="{D44C234F-45F7-4820-8E1D-3B13832D508E}"/>
          </ac:spMkLst>
        </pc:spChg>
      </pc:sldChg>
      <pc:sldChg chg="addSp delSp modSp mod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2665817529" sldId="2147469446"/>
        </pc:sldMkLst>
        <pc:spChg chg="add del mod">
          <ac:chgData name="Spenceley, Michael [JJCUS]" userId="bc909188-fc5f-49d0-afd7-9e0918fcd3f1" providerId="ADAL" clId="{D9C22FDC-D831-47F0-BC96-8FF582C9AEF7}" dt="2022-12-21T13:23:37.178" v="1353" actId="478"/>
          <ac:spMkLst>
            <pc:docMk/>
            <pc:sldMk cId="2665817529" sldId="2147469446"/>
            <ac:spMk id="4" creationId="{F27D173F-9453-2863-39A5-B177A4467961}"/>
          </ac:spMkLst>
        </pc:spChg>
      </pc:sldChg>
      <pc:sldChg chg="addSp modSp ord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1271525812" sldId="2147469449"/>
        </pc:sldMkLst>
        <pc:spChg chg="add mod">
          <ac:chgData name="Spenceley, Michael [JJCUS]" userId="bc909188-fc5f-49d0-afd7-9e0918fcd3f1" providerId="ADAL" clId="{D9C22FDC-D831-47F0-BC96-8FF582C9AEF7}" dt="2022-12-21T13:25:22.795" v="1361"/>
          <ac:spMkLst>
            <pc:docMk/>
            <pc:sldMk cId="1271525812" sldId="2147469449"/>
            <ac:spMk id="2" creationId="{E3552AC6-E030-7529-8E13-5AE4F82262B4}"/>
          </ac:spMkLst>
        </pc:spChg>
      </pc:sldChg>
      <pc:sldChg chg="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2439103623" sldId="2147469450"/>
        </pc:sldMkLst>
      </pc:sldChg>
      <pc:sldChg chg="del">
        <pc:chgData name="Spenceley, Michael [JJCUS]" userId="bc909188-fc5f-49d0-afd7-9e0918fcd3f1" providerId="ADAL" clId="{D9C22FDC-D831-47F0-BC96-8FF582C9AEF7}" dt="2022-12-16T13:01:48.669" v="706" actId="47"/>
        <pc:sldMkLst>
          <pc:docMk/>
          <pc:sldMk cId="1626293622" sldId="2147469451"/>
        </pc:sldMkLst>
      </pc:sldChg>
      <pc:sldChg chg="del">
        <pc:chgData name="Spenceley, Michael [JJCUS]" userId="bc909188-fc5f-49d0-afd7-9e0918fcd3f1" providerId="ADAL" clId="{D9C22FDC-D831-47F0-BC96-8FF582C9AEF7}" dt="2022-12-16T13:01:52.628" v="708" actId="47"/>
        <pc:sldMkLst>
          <pc:docMk/>
          <pc:sldMk cId="2855405967" sldId="2147469452"/>
        </pc:sldMkLst>
      </pc:sldChg>
      <pc:sldChg chg="del">
        <pc:chgData name="Spenceley, Michael [JJCUS]" userId="bc909188-fc5f-49d0-afd7-9e0918fcd3f1" providerId="ADAL" clId="{D9C22FDC-D831-47F0-BC96-8FF582C9AEF7}" dt="2022-12-16T12:47:51.054" v="193" actId="47"/>
        <pc:sldMkLst>
          <pc:docMk/>
          <pc:sldMk cId="2562744710" sldId="2147469455"/>
        </pc:sldMkLst>
      </pc:sldChg>
      <pc:sldChg chg="del">
        <pc:chgData name="Spenceley, Michael [JJCUS]" userId="bc909188-fc5f-49d0-afd7-9e0918fcd3f1" providerId="ADAL" clId="{D9C22FDC-D831-47F0-BC96-8FF582C9AEF7}" dt="2022-12-16T13:01:31.932" v="701" actId="47"/>
        <pc:sldMkLst>
          <pc:docMk/>
          <pc:sldMk cId="2085286800" sldId="2147469456"/>
        </pc:sldMkLst>
      </pc:sldChg>
      <pc:sldChg chg="modAnim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3242538415" sldId="2147469466"/>
        </pc:sldMkLst>
      </pc:sldChg>
      <pc:sldChg chg="modAnim modNotes">
        <pc:chgData name="Spenceley, Michael [JJCUS]" userId="bc909188-fc5f-49d0-afd7-9e0918fcd3f1" providerId="ADAL" clId="{D9C22FDC-D831-47F0-BC96-8FF582C9AEF7}" dt="2023-01-13T12:58:12.198" v="1654"/>
        <pc:sldMkLst>
          <pc:docMk/>
          <pc:sldMk cId="2639242077" sldId="2147469477"/>
        </pc:sldMkLst>
      </pc:sldChg>
      <pc:sldChg chg="new del">
        <pc:chgData name="Spenceley, Michael [JJCUS]" userId="bc909188-fc5f-49d0-afd7-9e0918fcd3f1" providerId="ADAL" clId="{D9C22FDC-D831-47F0-BC96-8FF582C9AEF7}" dt="2023-01-06T19:34:59.920" v="1653" actId="47"/>
        <pc:sldMkLst>
          <pc:docMk/>
          <pc:sldMk cId="701598239" sldId="2147469478"/>
        </pc:sldMkLst>
      </pc:sldChg>
      <pc:sldChg chg="add del setBg">
        <pc:chgData name="Spenceley, Michael [JJCUS]" userId="bc909188-fc5f-49d0-afd7-9e0918fcd3f1" providerId="ADAL" clId="{D9C22FDC-D831-47F0-BC96-8FF582C9AEF7}" dt="2022-12-16T12:55:13.658" v="363"/>
        <pc:sldMkLst>
          <pc:docMk/>
          <pc:sldMk cId="2902644864" sldId="2147469478"/>
        </pc:sldMkLst>
      </pc:sldChg>
      <pc:sldMasterChg chg="delSldLayout">
        <pc:chgData name="Spenceley, Michael [JJCUS]" userId="bc909188-fc5f-49d0-afd7-9e0918fcd3f1" providerId="ADAL" clId="{D9C22FDC-D831-47F0-BC96-8FF582C9AEF7}" dt="2022-12-16T12:48:13.491" v="194" actId="47"/>
        <pc:sldMasterMkLst>
          <pc:docMk/>
          <pc:sldMasterMk cId="3110606998" sldId="2147483796"/>
        </pc:sldMasterMkLst>
        <pc:sldLayoutChg chg="del">
          <pc:chgData name="Spenceley, Michael [JJCUS]" userId="bc909188-fc5f-49d0-afd7-9e0918fcd3f1" providerId="ADAL" clId="{D9C22FDC-D831-47F0-BC96-8FF582C9AEF7}" dt="2022-12-16T12:48:13.491" v="194" actId="47"/>
          <pc:sldLayoutMkLst>
            <pc:docMk/>
            <pc:sldMasterMk cId="3110606998" sldId="2147483796"/>
            <pc:sldLayoutMk cId="1991809153" sldId="2147483835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79A590-D60B-4173-8E14-B2BE40473A1B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E8119EB-A4D4-4B87-949E-E8E388C344EB}">
      <dgm:prSet phldrT="[Text]"/>
      <dgm:spPr/>
      <dgm:t>
        <a:bodyPr/>
        <a:lstStyle/>
        <a:p>
          <a:r>
            <a:rPr lang="en-US" dirty="0"/>
            <a:t>Global Content Strategy</a:t>
          </a:r>
        </a:p>
      </dgm:t>
    </dgm:pt>
    <dgm:pt modelId="{2C64010E-7AA3-400B-978F-08892E7AFE12}" type="parTrans" cxnId="{4D15CB55-E8C4-4FCB-9791-164EEEC4BBA5}">
      <dgm:prSet/>
      <dgm:spPr/>
      <dgm:t>
        <a:bodyPr/>
        <a:lstStyle/>
        <a:p>
          <a:endParaRPr lang="en-US"/>
        </a:p>
      </dgm:t>
    </dgm:pt>
    <dgm:pt modelId="{0EE21FFB-8CAB-4166-BC2C-AB0D9B71AAE2}" type="sibTrans" cxnId="{4D15CB55-E8C4-4FCB-9791-164EEEC4BBA5}">
      <dgm:prSet/>
      <dgm:spPr/>
      <dgm:t>
        <a:bodyPr/>
        <a:lstStyle/>
        <a:p>
          <a:endParaRPr lang="en-US"/>
        </a:p>
      </dgm:t>
    </dgm:pt>
    <dgm:pt modelId="{F58EC26C-ADCE-4424-A9BC-12E9051765FF}">
      <dgm:prSet phldrT="[Text]"/>
      <dgm:spPr/>
      <dgm:t>
        <a:bodyPr/>
        <a:lstStyle/>
        <a:p>
          <a:r>
            <a:rPr lang="en-US" dirty="0"/>
            <a:t>Content Success</a:t>
          </a:r>
        </a:p>
      </dgm:t>
    </dgm:pt>
    <dgm:pt modelId="{6FF21605-C021-48CD-BFA0-3AB812AB36F3}" type="parTrans" cxnId="{51BB5385-6F39-4B9C-A5B6-EF64A83E9BD5}">
      <dgm:prSet/>
      <dgm:spPr>
        <a:ln>
          <a:solidFill>
            <a:srgbClr val="1E22AA"/>
          </a:solidFill>
        </a:ln>
      </dgm:spPr>
      <dgm:t>
        <a:bodyPr/>
        <a:lstStyle/>
        <a:p>
          <a:endParaRPr lang="en-US"/>
        </a:p>
      </dgm:t>
    </dgm:pt>
    <dgm:pt modelId="{32381422-6214-4583-9EE3-649300E5723E}" type="sibTrans" cxnId="{51BB5385-6F39-4B9C-A5B6-EF64A83E9BD5}">
      <dgm:prSet/>
      <dgm:spPr/>
      <dgm:t>
        <a:bodyPr/>
        <a:lstStyle/>
        <a:p>
          <a:endParaRPr lang="en-US"/>
        </a:p>
      </dgm:t>
    </dgm:pt>
    <dgm:pt modelId="{80F1DC39-065C-410E-940D-BB6F692A6A87}">
      <dgm:prSet phldrT="[Text]"/>
      <dgm:spPr/>
      <dgm:t>
        <a:bodyPr/>
        <a:lstStyle/>
        <a:p>
          <a:r>
            <a:rPr lang="en-US" dirty="0"/>
            <a:t>Tactical Execution</a:t>
          </a:r>
        </a:p>
      </dgm:t>
    </dgm:pt>
    <dgm:pt modelId="{BC3F4C6A-72F5-4D1E-A5EE-B3A264A69280}" type="parTrans" cxnId="{553A8AAC-6BF1-48FD-AF54-07973C574EBB}">
      <dgm:prSet/>
      <dgm:spPr>
        <a:ln>
          <a:solidFill>
            <a:srgbClr val="1E22AA"/>
          </a:solidFill>
        </a:ln>
      </dgm:spPr>
      <dgm:t>
        <a:bodyPr/>
        <a:lstStyle/>
        <a:p>
          <a:endParaRPr lang="en-US"/>
        </a:p>
      </dgm:t>
    </dgm:pt>
    <dgm:pt modelId="{8E8C69ED-4E2B-4BD6-A09D-3B5012E416B7}" type="sibTrans" cxnId="{553A8AAC-6BF1-48FD-AF54-07973C574EBB}">
      <dgm:prSet/>
      <dgm:spPr/>
      <dgm:t>
        <a:bodyPr/>
        <a:lstStyle/>
        <a:p>
          <a:endParaRPr lang="en-US"/>
        </a:p>
      </dgm:t>
    </dgm:pt>
    <dgm:pt modelId="{6C824CEC-2D82-494B-81B1-DDC6907D425C}">
      <dgm:prSet phldrT="[Text]"/>
      <dgm:spPr/>
      <dgm:t>
        <a:bodyPr/>
        <a:lstStyle/>
        <a:p>
          <a:r>
            <a:rPr lang="en-US" dirty="0"/>
            <a:t>Governance &amp; Standards</a:t>
          </a:r>
        </a:p>
      </dgm:t>
    </dgm:pt>
    <dgm:pt modelId="{E009CEEB-01E2-4241-87CE-F912F3F26217}" type="parTrans" cxnId="{49E2718B-6787-4DAE-8502-D375FD1824B0}">
      <dgm:prSet/>
      <dgm:spPr>
        <a:ln>
          <a:solidFill>
            <a:srgbClr val="1E22AA"/>
          </a:solidFill>
        </a:ln>
      </dgm:spPr>
      <dgm:t>
        <a:bodyPr/>
        <a:lstStyle/>
        <a:p>
          <a:endParaRPr lang="en-US"/>
        </a:p>
      </dgm:t>
    </dgm:pt>
    <dgm:pt modelId="{A61E8B8E-DFE1-4213-B1FC-2834210D6E85}" type="sibTrans" cxnId="{49E2718B-6787-4DAE-8502-D375FD1824B0}">
      <dgm:prSet/>
      <dgm:spPr/>
      <dgm:t>
        <a:bodyPr/>
        <a:lstStyle/>
        <a:p>
          <a:endParaRPr lang="en-US"/>
        </a:p>
      </dgm:t>
    </dgm:pt>
    <dgm:pt modelId="{145668B4-476A-4D07-912A-82BF4781452F}" type="pres">
      <dgm:prSet presAssocID="{E579A590-D60B-4173-8E14-B2BE40473A1B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825CD1C5-FDDD-4C10-8AD6-6F8E8088A500}" type="pres">
      <dgm:prSet presAssocID="{8E8119EB-A4D4-4B87-949E-E8E388C344EB}" presName="hierRoot1" presStyleCnt="0">
        <dgm:presLayoutVars>
          <dgm:hierBranch val="init"/>
        </dgm:presLayoutVars>
      </dgm:prSet>
      <dgm:spPr/>
    </dgm:pt>
    <dgm:pt modelId="{145E92B4-F7F2-4AAA-AC71-DDF049CF2C29}" type="pres">
      <dgm:prSet presAssocID="{8E8119EB-A4D4-4B87-949E-E8E388C344EB}" presName="rootComposite1" presStyleCnt="0"/>
      <dgm:spPr/>
    </dgm:pt>
    <dgm:pt modelId="{64DB9359-30D2-4355-BB4B-2690996E7637}" type="pres">
      <dgm:prSet presAssocID="{8E8119EB-A4D4-4B87-949E-E8E388C344EB}" presName="rootText1" presStyleLbl="alignAcc1" presStyleIdx="0" presStyleCnt="0">
        <dgm:presLayoutVars>
          <dgm:chPref val="3"/>
        </dgm:presLayoutVars>
      </dgm:prSet>
      <dgm:spPr/>
    </dgm:pt>
    <dgm:pt modelId="{86277416-1B4D-45C4-99BA-7252031F4CFA}" type="pres">
      <dgm:prSet presAssocID="{8E8119EB-A4D4-4B87-949E-E8E388C344EB}" presName="topArc1" presStyleLbl="parChTrans1D1" presStyleIdx="0" presStyleCnt="8"/>
      <dgm:spPr>
        <a:ln>
          <a:solidFill>
            <a:srgbClr val="1E22AA"/>
          </a:solidFill>
        </a:ln>
      </dgm:spPr>
    </dgm:pt>
    <dgm:pt modelId="{69173C54-AF5D-4195-9023-ACAA9B4512F5}" type="pres">
      <dgm:prSet presAssocID="{8E8119EB-A4D4-4B87-949E-E8E388C344EB}" presName="bottomArc1" presStyleLbl="parChTrans1D1" presStyleIdx="1" presStyleCnt="8"/>
      <dgm:spPr>
        <a:ln>
          <a:solidFill>
            <a:srgbClr val="1E22AA"/>
          </a:solidFill>
        </a:ln>
      </dgm:spPr>
    </dgm:pt>
    <dgm:pt modelId="{A55756EC-2043-4384-9ECB-528BAB857846}" type="pres">
      <dgm:prSet presAssocID="{8E8119EB-A4D4-4B87-949E-E8E388C344EB}" presName="topConnNode1" presStyleLbl="node1" presStyleIdx="0" presStyleCnt="0"/>
      <dgm:spPr/>
    </dgm:pt>
    <dgm:pt modelId="{C505ED6B-D5E5-4B01-82D1-7D92FE66955A}" type="pres">
      <dgm:prSet presAssocID="{8E8119EB-A4D4-4B87-949E-E8E388C344EB}" presName="hierChild2" presStyleCnt="0"/>
      <dgm:spPr/>
    </dgm:pt>
    <dgm:pt modelId="{5A4D0E78-C192-4306-A50A-17DBA350722F}" type="pres">
      <dgm:prSet presAssocID="{6FF21605-C021-48CD-BFA0-3AB812AB36F3}" presName="Name28" presStyleLbl="parChTrans1D2" presStyleIdx="0" presStyleCnt="3"/>
      <dgm:spPr/>
    </dgm:pt>
    <dgm:pt modelId="{D1931DD0-A5A5-4420-807C-D9B199EE2AC0}" type="pres">
      <dgm:prSet presAssocID="{F58EC26C-ADCE-4424-A9BC-12E9051765FF}" presName="hierRoot2" presStyleCnt="0">
        <dgm:presLayoutVars>
          <dgm:hierBranch val="init"/>
        </dgm:presLayoutVars>
      </dgm:prSet>
      <dgm:spPr/>
    </dgm:pt>
    <dgm:pt modelId="{98BD3D34-92AD-4D41-9853-C64D29C7760F}" type="pres">
      <dgm:prSet presAssocID="{F58EC26C-ADCE-4424-A9BC-12E9051765FF}" presName="rootComposite2" presStyleCnt="0"/>
      <dgm:spPr/>
    </dgm:pt>
    <dgm:pt modelId="{AEA7C627-B928-4F67-86A8-2C25F7CC45D5}" type="pres">
      <dgm:prSet presAssocID="{F58EC26C-ADCE-4424-A9BC-12E9051765FF}" presName="rootText2" presStyleLbl="alignAcc1" presStyleIdx="0" presStyleCnt="0" custLinFactNeighborX="-4524">
        <dgm:presLayoutVars>
          <dgm:chPref val="3"/>
        </dgm:presLayoutVars>
      </dgm:prSet>
      <dgm:spPr/>
    </dgm:pt>
    <dgm:pt modelId="{B1012554-C44F-4511-B3EE-0B3175044AAC}" type="pres">
      <dgm:prSet presAssocID="{F58EC26C-ADCE-4424-A9BC-12E9051765FF}" presName="topArc2" presStyleLbl="parChTrans1D1" presStyleIdx="2" presStyleCnt="8"/>
      <dgm:spPr>
        <a:ln>
          <a:solidFill>
            <a:srgbClr val="1E22AA"/>
          </a:solidFill>
        </a:ln>
      </dgm:spPr>
    </dgm:pt>
    <dgm:pt modelId="{C21BF0D5-5929-461E-8157-DB6C03FC2172}" type="pres">
      <dgm:prSet presAssocID="{F58EC26C-ADCE-4424-A9BC-12E9051765FF}" presName="bottomArc2" presStyleLbl="parChTrans1D1" presStyleIdx="3" presStyleCnt="8"/>
      <dgm:spPr>
        <a:ln>
          <a:solidFill>
            <a:srgbClr val="1E22AA"/>
          </a:solidFill>
        </a:ln>
      </dgm:spPr>
    </dgm:pt>
    <dgm:pt modelId="{7317D716-2BCA-42A4-907E-EE50BDE85241}" type="pres">
      <dgm:prSet presAssocID="{F58EC26C-ADCE-4424-A9BC-12E9051765FF}" presName="topConnNode2" presStyleLbl="node2" presStyleIdx="0" presStyleCnt="0"/>
      <dgm:spPr/>
    </dgm:pt>
    <dgm:pt modelId="{90F56B6D-B31D-4F36-883F-0231EB2C816F}" type="pres">
      <dgm:prSet presAssocID="{F58EC26C-ADCE-4424-A9BC-12E9051765FF}" presName="hierChild4" presStyleCnt="0"/>
      <dgm:spPr/>
    </dgm:pt>
    <dgm:pt modelId="{02CB0BF8-8C66-4C65-BB5D-3D402E36BF4C}" type="pres">
      <dgm:prSet presAssocID="{F58EC26C-ADCE-4424-A9BC-12E9051765FF}" presName="hierChild5" presStyleCnt="0"/>
      <dgm:spPr/>
    </dgm:pt>
    <dgm:pt modelId="{FC625866-08DF-427A-A2DA-1A708AE5507E}" type="pres">
      <dgm:prSet presAssocID="{BC3F4C6A-72F5-4D1E-A5EE-B3A264A69280}" presName="Name28" presStyleLbl="parChTrans1D2" presStyleIdx="1" presStyleCnt="3"/>
      <dgm:spPr/>
    </dgm:pt>
    <dgm:pt modelId="{2FB836C2-AAD7-411B-BB0E-CA46AEE55DA6}" type="pres">
      <dgm:prSet presAssocID="{80F1DC39-065C-410E-940D-BB6F692A6A87}" presName="hierRoot2" presStyleCnt="0">
        <dgm:presLayoutVars>
          <dgm:hierBranch val="init"/>
        </dgm:presLayoutVars>
      </dgm:prSet>
      <dgm:spPr/>
    </dgm:pt>
    <dgm:pt modelId="{BC4CB057-A8D7-4805-9B77-3C5C7F64817A}" type="pres">
      <dgm:prSet presAssocID="{80F1DC39-065C-410E-940D-BB6F692A6A87}" presName="rootComposite2" presStyleCnt="0"/>
      <dgm:spPr/>
    </dgm:pt>
    <dgm:pt modelId="{E854A789-E6EE-4465-B3E6-E7305571561C}" type="pres">
      <dgm:prSet presAssocID="{80F1DC39-065C-410E-940D-BB6F692A6A87}" presName="rootText2" presStyleLbl="alignAcc1" presStyleIdx="0" presStyleCnt="0">
        <dgm:presLayoutVars>
          <dgm:chPref val="3"/>
        </dgm:presLayoutVars>
      </dgm:prSet>
      <dgm:spPr/>
    </dgm:pt>
    <dgm:pt modelId="{3C6B8845-8A13-4552-B4E9-F2413ECFCA50}" type="pres">
      <dgm:prSet presAssocID="{80F1DC39-065C-410E-940D-BB6F692A6A87}" presName="topArc2" presStyleLbl="parChTrans1D1" presStyleIdx="4" presStyleCnt="8"/>
      <dgm:spPr>
        <a:ln>
          <a:solidFill>
            <a:srgbClr val="1E22AA"/>
          </a:solidFill>
        </a:ln>
      </dgm:spPr>
    </dgm:pt>
    <dgm:pt modelId="{C0859151-8A65-479F-8248-ABDD07D9E8F9}" type="pres">
      <dgm:prSet presAssocID="{80F1DC39-065C-410E-940D-BB6F692A6A87}" presName="bottomArc2" presStyleLbl="parChTrans1D1" presStyleIdx="5" presStyleCnt="8"/>
      <dgm:spPr>
        <a:ln>
          <a:solidFill>
            <a:srgbClr val="1E22AA"/>
          </a:solidFill>
        </a:ln>
      </dgm:spPr>
    </dgm:pt>
    <dgm:pt modelId="{01192911-0301-4EAB-B39B-3823A02A4AB2}" type="pres">
      <dgm:prSet presAssocID="{80F1DC39-065C-410E-940D-BB6F692A6A87}" presName="topConnNode2" presStyleLbl="node2" presStyleIdx="0" presStyleCnt="0"/>
      <dgm:spPr/>
    </dgm:pt>
    <dgm:pt modelId="{545296F7-230E-4D59-9082-2EA689ED031F}" type="pres">
      <dgm:prSet presAssocID="{80F1DC39-065C-410E-940D-BB6F692A6A87}" presName="hierChild4" presStyleCnt="0"/>
      <dgm:spPr/>
    </dgm:pt>
    <dgm:pt modelId="{D2D304FD-8FEB-4D22-9BA1-6302D3F493E6}" type="pres">
      <dgm:prSet presAssocID="{80F1DC39-065C-410E-940D-BB6F692A6A87}" presName="hierChild5" presStyleCnt="0"/>
      <dgm:spPr/>
    </dgm:pt>
    <dgm:pt modelId="{90CDAFC5-4254-4331-A81D-D57B3FBAFEBF}" type="pres">
      <dgm:prSet presAssocID="{E009CEEB-01E2-4241-87CE-F912F3F26217}" presName="Name28" presStyleLbl="parChTrans1D2" presStyleIdx="2" presStyleCnt="3"/>
      <dgm:spPr/>
    </dgm:pt>
    <dgm:pt modelId="{54BE2317-E0F0-4BD6-9346-17FB2400FDD1}" type="pres">
      <dgm:prSet presAssocID="{6C824CEC-2D82-494B-81B1-DDC6907D425C}" presName="hierRoot2" presStyleCnt="0">
        <dgm:presLayoutVars>
          <dgm:hierBranch val="init"/>
        </dgm:presLayoutVars>
      </dgm:prSet>
      <dgm:spPr/>
    </dgm:pt>
    <dgm:pt modelId="{297CC0F4-0D78-4E48-B209-2291EC6A6DD0}" type="pres">
      <dgm:prSet presAssocID="{6C824CEC-2D82-494B-81B1-DDC6907D425C}" presName="rootComposite2" presStyleCnt="0"/>
      <dgm:spPr/>
    </dgm:pt>
    <dgm:pt modelId="{4BAE7D99-EADC-4A2E-B570-444473797156}" type="pres">
      <dgm:prSet presAssocID="{6C824CEC-2D82-494B-81B1-DDC6907D425C}" presName="rootText2" presStyleLbl="alignAcc1" presStyleIdx="0" presStyleCnt="0">
        <dgm:presLayoutVars>
          <dgm:chPref val="3"/>
        </dgm:presLayoutVars>
      </dgm:prSet>
      <dgm:spPr/>
    </dgm:pt>
    <dgm:pt modelId="{8F45819C-8FC7-47F0-96A3-4B532A4C6321}" type="pres">
      <dgm:prSet presAssocID="{6C824CEC-2D82-494B-81B1-DDC6907D425C}" presName="topArc2" presStyleLbl="parChTrans1D1" presStyleIdx="6" presStyleCnt="8"/>
      <dgm:spPr>
        <a:ln>
          <a:solidFill>
            <a:srgbClr val="1E22AA"/>
          </a:solidFill>
        </a:ln>
      </dgm:spPr>
    </dgm:pt>
    <dgm:pt modelId="{53C0D577-5F86-478D-AC73-10EFFF0DE890}" type="pres">
      <dgm:prSet presAssocID="{6C824CEC-2D82-494B-81B1-DDC6907D425C}" presName="bottomArc2" presStyleLbl="parChTrans1D1" presStyleIdx="7" presStyleCnt="8"/>
      <dgm:spPr>
        <a:ln>
          <a:solidFill>
            <a:srgbClr val="1E22AA"/>
          </a:solidFill>
        </a:ln>
      </dgm:spPr>
    </dgm:pt>
    <dgm:pt modelId="{36C7909E-168D-4787-94F8-226E56378CCA}" type="pres">
      <dgm:prSet presAssocID="{6C824CEC-2D82-494B-81B1-DDC6907D425C}" presName="topConnNode2" presStyleLbl="node2" presStyleIdx="0" presStyleCnt="0"/>
      <dgm:spPr/>
    </dgm:pt>
    <dgm:pt modelId="{5C5522D6-BA61-4BDC-8B96-B9D6BEBE0603}" type="pres">
      <dgm:prSet presAssocID="{6C824CEC-2D82-494B-81B1-DDC6907D425C}" presName="hierChild4" presStyleCnt="0"/>
      <dgm:spPr/>
    </dgm:pt>
    <dgm:pt modelId="{375BBA36-0289-4977-8219-6151B6B7E955}" type="pres">
      <dgm:prSet presAssocID="{6C824CEC-2D82-494B-81B1-DDC6907D425C}" presName="hierChild5" presStyleCnt="0"/>
      <dgm:spPr/>
    </dgm:pt>
    <dgm:pt modelId="{D7FD6C45-3935-442B-A1C7-228ED2DF1385}" type="pres">
      <dgm:prSet presAssocID="{8E8119EB-A4D4-4B87-949E-E8E388C344EB}" presName="hierChild3" presStyleCnt="0"/>
      <dgm:spPr/>
    </dgm:pt>
  </dgm:ptLst>
  <dgm:cxnLst>
    <dgm:cxn modelId="{D1EF7503-A4EF-4B78-AFD7-755A44F19552}" type="presOf" srcId="{80F1DC39-065C-410E-940D-BB6F692A6A87}" destId="{01192911-0301-4EAB-B39B-3823A02A4AB2}" srcOrd="1" destOrd="0" presId="urn:microsoft.com/office/officeart/2008/layout/HalfCircleOrganizationChart"/>
    <dgm:cxn modelId="{16BFA318-72AF-4E5C-B74F-2E4500D20F65}" type="presOf" srcId="{6FF21605-C021-48CD-BFA0-3AB812AB36F3}" destId="{5A4D0E78-C192-4306-A50A-17DBA350722F}" srcOrd="0" destOrd="0" presId="urn:microsoft.com/office/officeart/2008/layout/HalfCircleOrganizationChart"/>
    <dgm:cxn modelId="{D10F3867-A80E-4E04-B090-96081E351431}" type="presOf" srcId="{6C824CEC-2D82-494B-81B1-DDC6907D425C}" destId="{4BAE7D99-EADC-4A2E-B570-444473797156}" srcOrd="0" destOrd="0" presId="urn:microsoft.com/office/officeart/2008/layout/HalfCircleOrganizationChart"/>
    <dgm:cxn modelId="{8EB8D26B-89DC-4BA9-831E-71305C392A69}" type="presOf" srcId="{8E8119EB-A4D4-4B87-949E-E8E388C344EB}" destId="{A55756EC-2043-4384-9ECB-528BAB857846}" srcOrd="1" destOrd="0" presId="urn:microsoft.com/office/officeart/2008/layout/HalfCircleOrganizationChart"/>
    <dgm:cxn modelId="{6A17E34C-513C-461E-84A8-398B9D5D5684}" type="presOf" srcId="{BC3F4C6A-72F5-4D1E-A5EE-B3A264A69280}" destId="{FC625866-08DF-427A-A2DA-1A708AE5507E}" srcOrd="0" destOrd="0" presId="urn:microsoft.com/office/officeart/2008/layout/HalfCircleOrganizationChart"/>
    <dgm:cxn modelId="{4D15CB55-E8C4-4FCB-9791-164EEEC4BBA5}" srcId="{E579A590-D60B-4173-8E14-B2BE40473A1B}" destId="{8E8119EB-A4D4-4B87-949E-E8E388C344EB}" srcOrd="0" destOrd="0" parTransId="{2C64010E-7AA3-400B-978F-08892E7AFE12}" sibTransId="{0EE21FFB-8CAB-4166-BC2C-AB0D9B71AAE2}"/>
    <dgm:cxn modelId="{2ECDD95A-4605-47B8-BAF6-FC90B02002A3}" type="presOf" srcId="{6C824CEC-2D82-494B-81B1-DDC6907D425C}" destId="{36C7909E-168D-4787-94F8-226E56378CCA}" srcOrd="1" destOrd="0" presId="urn:microsoft.com/office/officeart/2008/layout/HalfCircleOrganizationChart"/>
    <dgm:cxn modelId="{51BB5385-6F39-4B9C-A5B6-EF64A83E9BD5}" srcId="{8E8119EB-A4D4-4B87-949E-E8E388C344EB}" destId="{F58EC26C-ADCE-4424-A9BC-12E9051765FF}" srcOrd="0" destOrd="0" parTransId="{6FF21605-C021-48CD-BFA0-3AB812AB36F3}" sibTransId="{32381422-6214-4583-9EE3-649300E5723E}"/>
    <dgm:cxn modelId="{1B94C38A-094F-49C9-B764-AF2C781B3707}" type="presOf" srcId="{F58EC26C-ADCE-4424-A9BC-12E9051765FF}" destId="{AEA7C627-B928-4F67-86A8-2C25F7CC45D5}" srcOrd="0" destOrd="0" presId="urn:microsoft.com/office/officeart/2008/layout/HalfCircleOrganizationChart"/>
    <dgm:cxn modelId="{49E2718B-6787-4DAE-8502-D375FD1824B0}" srcId="{8E8119EB-A4D4-4B87-949E-E8E388C344EB}" destId="{6C824CEC-2D82-494B-81B1-DDC6907D425C}" srcOrd="2" destOrd="0" parTransId="{E009CEEB-01E2-4241-87CE-F912F3F26217}" sibTransId="{A61E8B8E-DFE1-4213-B1FC-2834210D6E85}"/>
    <dgm:cxn modelId="{12616295-4513-48CF-891E-D86DAB9469DB}" type="presOf" srcId="{8E8119EB-A4D4-4B87-949E-E8E388C344EB}" destId="{64DB9359-30D2-4355-BB4B-2690996E7637}" srcOrd="0" destOrd="0" presId="urn:microsoft.com/office/officeart/2008/layout/HalfCircleOrganizationChart"/>
    <dgm:cxn modelId="{55D9BAA7-7B44-4BCD-8FAF-173872084CAE}" type="presOf" srcId="{F58EC26C-ADCE-4424-A9BC-12E9051765FF}" destId="{7317D716-2BCA-42A4-907E-EE50BDE85241}" srcOrd="1" destOrd="0" presId="urn:microsoft.com/office/officeart/2008/layout/HalfCircleOrganizationChart"/>
    <dgm:cxn modelId="{553A8AAC-6BF1-48FD-AF54-07973C574EBB}" srcId="{8E8119EB-A4D4-4B87-949E-E8E388C344EB}" destId="{80F1DC39-065C-410E-940D-BB6F692A6A87}" srcOrd="1" destOrd="0" parTransId="{BC3F4C6A-72F5-4D1E-A5EE-B3A264A69280}" sibTransId="{8E8C69ED-4E2B-4BD6-A09D-3B5012E416B7}"/>
    <dgm:cxn modelId="{B1C0EAC9-B9AB-476B-9B52-8809541DD637}" type="presOf" srcId="{E579A590-D60B-4173-8E14-B2BE40473A1B}" destId="{145668B4-476A-4D07-912A-82BF4781452F}" srcOrd="0" destOrd="0" presId="urn:microsoft.com/office/officeart/2008/layout/HalfCircleOrganizationChart"/>
    <dgm:cxn modelId="{EB7E29D8-DB0B-4CAC-9EF2-64C2BB9A284A}" type="presOf" srcId="{80F1DC39-065C-410E-940D-BB6F692A6A87}" destId="{E854A789-E6EE-4465-B3E6-E7305571561C}" srcOrd="0" destOrd="0" presId="urn:microsoft.com/office/officeart/2008/layout/HalfCircleOrganizationChart"/>
    <dgm:cxn modelId="{DE2B06F2-2A9A-4872-94E7-C64AB6F7B372}" type="presOf" srcId="{E009CEEB-01E2-4241-87CE-F912F3F26217}" destId="{90CDAFC5-4254-4331-A81D-D57B3FBAFEBF}" srcOrd="0" destOrd="0" presId="urn:microsoft.com/office/officeart/2008/layout/HalfCircleOrganizationChart"/>
    <dgm:cxn modelId="{10746AC5-B41D-46CF-BF18-88E15E857760}" type="presParOf" srcId="{145668B4-476A-4D07-912A-82BF4781452F}" destId="{825CD1C5-FDDD-4C10-8AD6-6F8E8088A500}" srcOrd="0" destOrd="0" presId="urn:microsoft.com/office/officeart/2008/layout/HalfCircleOrganizationChart"/>
    <dgm:cxn modelId="{379DDB1B-6E6D-475A-A688-16094B90DC36}" type="presParOf" srcId="{825CD1C5-FDDD-4C10-8AD6-6F8E8088A500}" destId="{145E92B4-F7F2-4AAA-AC71-DDF049CF2C29}" srcOrd="0" destOrd="0" presId="urn:microsoft.com/office/officeart/2008/layout/HalfCircleOrganizationChart"/>
    <dgm:cxn modelId="{EEC68B1E-6744-439C-97BB-7357F2DD7FCF}" type="presParOf" srcId="{145E92B4-F7F2-4AAA-AC71-DDF049CF2C29}" destId="{64DB9359-30D2-4355-BB4B-2690996E7637}" srcOrd="0" destOrd="0" presId="urn:microsoft.com/office/officeart/2008/layout/HalfCircleOrganizationChart"/>
    <dgm:cxn modelId="{1E3F6EDE-98C7-424C-88C0-B6BE6A118129}" type="presParOf" srcId="{145E92B4-F7F2-4AAA-AC71-DDF049CF2C29}" destId="{86277416-1B4D-45C4-99BA-7252031F4CFA}" srcOrd="1" destOrd="0" presId="urn:microsoft.com/office/officeart/2008/layout/HalfCircleOrganizationChart"/>
    <dgm:cxn modelId="{293D6A9A-D8E6-4A7F-B6AF-EAA1984712A3}" type="presParOf" srcId="{145E92B4-F7F2-4AAA-AC71-DDF049CF2C29}" destId="{69173C54-AF5D-4195-9023-ACAA9B4512F5}" srcOrd="2" destOrd="0" presId="urn:microsoft.com/office/officeart/2008/layout/HalfCircleOrganizationChart"/>
    <dgm:cxn modelId="{C8B5528D-1F71-4DF6-89A2-35770AA13A16}" type="presParOf" srcId="{145E92B4-F7F2-4AAA-AC71-DDF049CF2C29}" destId="{A55756EC-2043-4384-9ECB-528BAB857846}" srcOrd="3" destOrd="0" presId="urn:microsoft.com/office/officeart/2008/layout/HalfCircleOrganizationChart"/>
    <dgm:cxn modelId="{B927E50C-4A40-42D5-B564-5FBD2A37C96C}" type="presParOf" srcId="{825CD1C5-FDDD-4C10-8AD6-6F8E8088A500}" destId="{C505ED6B-D5E5-4B01-82D1-7D92FE66955A}" srcOrd="1" destOrd="0" presId="urn:microsoft.com/office/officeart/2008/layout/HalfCircleOrganizationChart"/>
    <dgm:cxn modelId="{84C6DDF0-B30E-495B-8EFB-B40F6E7916AB}" type="presParOf" srcId="{C505ED6B-D5E5-4B01-82D1-7D92FE66955A}" destId="{5A4D0E78-C192-4306-A50A-17DBA350722F}" srcOrd="0" destOrd="0" presId="urn:microsoft.com/office/officeart/2008/layout/HalfCircleOrganizationChart"/>
    <dgm:cxn modelId="{0D722506-1C75-49FE-AA65-7B5EB3B088E4}" type="presParOf" srcId="{C505ED6B-D5E5-4B01-82D1-7D92FE66955A}" destId="{D1931DD0-A5A5-4420-807C-D9B199EE2AC0}" srcOrd="1" destOrd="0" presId="urn:microsoft.com/office/officeart/2008/layout/HalfCircleOrganizationChart"/>
    <dgm:cxn modelId="{23852A1D-3AFF-49FF-9A6B-3E4D4D993639}" type="presParOf" srcId="{D1931DD0-A5A5-4420-807C-D9B199EE2AC0}" destId="{98BD3D34-92AD-4D41-9853-C64D29C7760F}" srcOrd="0" destOrd="0" presId="urn:microsoft.com/office/officeart/2008/layout/HalfCircleOrganizationChart"/>
    <dgm:cxn modelId="{562F70CE-7AD6-4554-AF89-FD0B2A2225F8}" type="presParOf" srcId="{98BD3D34-92AD-4D41-9853-C64D29C7760F}" destId="{AEA7C627-B928-4F67-86A8-2C25F7CC45D5}" srcOrd="0" destOrd="0" presId="urn:microsoft.com/office/officeart/2008/layout/HalfCircleOrganizationChart"/>
    <dgm:cxn modelId="{4800109F-05BC-450A-BFDF-DFE97DD2D1BD}" type="presParOf" srcId="{98BD3D34-92AD-4D41-9853-C64D29C7760F}" destId="{B1012554-C44F-4511-B3EE-0B3175044AAC}" srcOrd="1" destOrd="0" presId="urn:microsoft.com/office/officeart/2008/layout/HalfCircleOrganizationChart"/>
    <dgm:cxn modelId="{62085B94-7BB2-404A-8F8C-216383F63097}" type="presParOf" srcId="{98BD3D34-92AD-4D41-9853-C64D29C7760F}" destId="{C21BF0D5-5929-461E-8157-DB6C03FC2172}" srcOrd="2" destOrd="0" presId="urn:microsoft.com/office/officeart/2008/layout/HalfCircleOrganizationChart"/>
    <dgm:cxn modelId="{53CDD740-F2F3-4247-9202-DF9557C14C77}" type="presParOf" srcId="{98BD3D34-92AD-4D41-9853-C64D29C7760F}" destId="{7317D716-2BCA-42A4-907E-EE50BDE85241}" srcOrd="3" destOrd="0" presId="urn:microsoft.com/office/officeart/2008/layout/HalfCircleOrganizationChart"/>
    <dgm:cxn modelId="{A8624653-7903-454E-85D9-EB05956C6D5F}" type="presParOf" srcId="{D1931DD0-A5A5-4420-807C-D9B199EE2AC0}" destId="{90F56B6D-B31D-4F36-883F-0231EB2C816F}" srcOrd="1" destOrd="0" presId="urn:microsoft.com/office/officeart/2008/layout/HalfCircleOrganizationChart"/>
    <dgm:cxn modelId="{B2506E47-1724-4052-AF9F-E1BD22779DEC}" type="presParOf" srcId="{D1931DD0-A5A5-4420-807C-D9B199EE2AC0}" destId="{02CB0BF8-8C66-4C65-BB5D-3D402E36BF4C}" srcOrd="2" destOrd="0" presId="urn:microsoft.com/office/officeart/2008/layout/HalfCircleOrganizationChart"/>
    <dgm:cxn modelId="{FAD6579C-4117-4399-9032-3C4DD7EE696B}" type="presParOf" srcId="{C505ED6B-D5E5-4B01-82D1-7D92FE66955A}" destId="{FC625866-08DF-427A-A2DA-1A708AE5507E}" srcOrd="2" destOrd="0" presId="urn:microsoft.com/office/officeart/2008/layout/HalfCircleOrganizationChart"/>
    <dgm:cxn modelId="{A62D5801-DAB0-404A-843C-DBFCEAC97EA7}" type="presParOf" srcId="{C505ED6B-D5E5-4B01-82D1-7D92FE66955A}" destId="{2FB836C2-AAD7-411B-BB0E-CA46AEE55DA6}" srcOrd="3" destOrd="0" presId="urn:microsoft.com/office/officeart/2008/layout/HalfCircleOrganizationChart"/>
    <dgm:cxn modelId="{B09E7D84-6C66-4FD4-8C6B-6B0F9D6FA5BF}" type="presParOf" srcId="{2FB836C2-AAD7-411B-BB0E-CA46AEE55DA6}" destId="{BC4CB057-A8D7-4805-9B77-3C5C7F64817A}" srcOrd="0" destOrd="0" presId="urn:microsoft.com/office/officeart/2008/layout/HalfCircleOrganizationChart"/>
    <dgm:cxn modelId="{37092EA4-45FE-4F6E-A0A2-544FA0436165}" type="presParOf" srcId="{BC4CB057-A8D7-4805-9B77-3C5C7F64817A}" destId="{E854A789-E6EE-4465-B3E6-E7305571561C}" srcOrd="0" destOrd="0" presId="urn:microsoft.com/office/officeart/2008/layout/HalfCircleOrganizationChart"/>
    <dgm:cxn modelId="{D4E3D14B-C1EA-428D-A3FA-E3B9FAC0B0A8}" type="presParOf" srcId="{BC4CB057-A8D7-4805-9B77-3C5C7F64817A}" destId="{3C6B8845-8A13-4552-B4E9-F2413ECFCA50}" srcOrd="1" destOrd="0" presId="urn:microsoft.com/office/officeart/2008/layout/HalfCircleOrganizationChart"/>
    <dgm:cxn modelId="{09417197-7390-437E-B396-389222013065}" type="presParOf" srcId="{BC4CB057-A8D7-4805-9B77-3C5C7F64817A}" destId="{C0859151-8A65-479F-8248-ABDD07D9E8F9}" srcOrd="2" destOrd="0" presId="urn:microsoft.com/office/officeart/2008/layout/HalfCircleOrganizationChart"/>
    <dgm:cxn modelId="{0B9CF290-291A-4F15-9CC6-99DA0E42AC25}" type="presParOf" srcId="{BC4CB057-A8D7-4805-9B77-3C5C7F64817A}" destId="{01192911-0301-4EAB-B39B-3823A02A4AB2}" srcOrd="3" destOrd="0" presId="urn:microsoft.com/office/officeart/2008/layout/HalfCircleOrganizationChart"/>
    <dgm:cxn modelId="{063B7058-1E49-40D4-B81F-2C76DFF2E9B6}" type="presParOf" srcId="{2FB836C2-AAD7-411B-BB0E-CA46AEE55DA6}" destId="{545296F7-230E-4D59-9082-2EA689ED031F}" srcOrd="1" destOrd="0" presId="urn:microsoft.com/office/officeart/2008/layout/HalfCircleOrganizationChart"/>
    <dgm:cxn modelId="{4647BCF2-AA9C-4012-8863-638375B80ED3}" type="presParOf" srcId="{2FB836C2-AAD7-411B-BB0E-CA46AEE55DA6}" destId="{D2D304FD-8FEB-4D22-9BA1-6302D3F493E6}" srcOrd="2" destOrd="0" presId="urn:microsoft.com/office/officeart/2008/layout/HalfCircleOrganizationChart"/>
    <dgm:cxn modelId="{971EB126-AFF2-4A00-913C-30455B7527DF}" type="presParOf" srcId="{C505ED6B-D5E5-4B01-82D1-7D92FE66955A}" destId="{90CDAFC5-4254-4331-A81D-D57B3FBAFEBF}" srcOrd="4" destOrd="0" presId="urn:microsoft.com/office/officeart/2008/layout/HalfCircleOrganizationChart"/>
    <dgm:cxn modelId="{B54DA596-2658-426F-A480-07ACEE50B026}" type="presParOf" srcId="{C505ED6B-D5E5-4B01-82D1-7D92FE66955A}" destId="{54BE2317-E0F0-4BD6-9346-17FB2400FDD1}" srcOrd="5" destOrd="0" presId="urn:microsoft.com/office/officeart/2008/layout/HalfCircleOrganizationChart"/>
    <dgm:cxn modelId="{CF5863FA-2200-42D3-89F3-C4A4AEC51C70}" type="presParOf" srcId="{54BE2317-E0F0-4BD6-9346-17FB2400FDD1}" destId="{297CC0F4-0D78-4E48-B209-2291EC6A6DD0}" srcOrd="0" destOrd="0" presId="urn:microsoft.com/office/officeart/2008/layout/HalfCircleOrganizationChart"/>
    <dgm:cxn modelId="{9BAB7851-C209-483F-B9DE-F54BDA787AC8}" type="presParOf" srcId="{297CC0F4-0D78-4E48-B209-2291EC6A6DD0}" destId="{4BAE7D99-EADC-4A2E-B570-444473797156}" srcOrd="0" destOrd="0" presId="urn:microsoft.com/office/officeart/2008/layout/HalfCircleOrganizationChart"/>
    <dgm:cxn modelId="{2F577A28-18C4-464B-9937-173D7052444A}" type="presParOf" srcId="{297CC0F4-0D78-4E48-B209-2291EC6A6DD0}" destId="{8F45819C-8FC7-47F0-96A3-4B532A4C6321}" srcOrd="1" destOrd="0" presId="urn:microsoft.com/office/officeart/2008/layout/HalfCircleOrganizationChart"/>
    <dgm:cxn modelId="{2DD55CCE-B9E7-41B4-80AF-5AF184729184}" type="presParOf" srcId="{297CC0F4-0D78-4E48-B209-2291EC6A6DD0}" destId="{53C0D577-5F86-478D-AC73-10EFFF0DE890}" srcOrd="2" destOrd="0" presId="urn:microsoft.com/office/officeart/2008/layout/HalfCircleOrganizationChart"/>
    <dgm:cxn modelId="{9A983E3B-FB0A-40C7-966C-937D03D63952}" type="presParOf" srcId="{297CC0F4-0D78-4E48-B209-2291EC6A6DD0}" destId="{36C7909E-168D-4787-94F8-226E56378CCA}" srcOrd="3" destOrd="0" presId="urn:microsoft.com/office/officeart/2008/layout/HalfCircleOrganizationChart"/>
    <dgm:cxn modelId="{DC563944-84FA-490B-AB01-B9690F5A62C8}" type="presParOf" srcId="{54BE2317-E0F0-4BD6-9346-17FB2400FDD1}" destId="{5C5522D6-BA61-4BDC-8B96-B9D6BEBE0603}" srcOrd="1" destOrd="0" presId="urn:microsoft.com/office/officeart/2008/layout/HalfCircleOrganizationChart"/>
    <dgm:cxn modelId="{BB66C4EE-B926-47A1-BDCB-123D24B4BCA4}" type="presParOf" srcId="{54BE2317-E0F0-4BD6-9346-17FB2400FDD1}" destId="{375BBA36-0289-4977-8219-6151B6B7E955}" srcOrd="2" destOrd="0" presId="urn:microsoft.com/office/officeart/2008/layout/HalfCircleOrganizationChart"/>
    <dgm:cxn modelId="{4E086D21-F795-499C-BBFE-2B5FEC77FC05}" type="presParOf" srcId="{825CD1C5-FDDD-4C10-8AD6-6F8E8088A500}" destId="{D7FD6C45-3935-442B-A1C7-228ED2DF1385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4CB1A45-D47F-4139-8926-0E5260C00858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0CC6AB14-710F-4A5A-8DF3-CF373BD79432}">
      <dgm:prSet phldrT="[Text]" custT="1"/>
      <dgm:spPr>
        <a:solidFill>
          <a:srgbClr val="1E22AA"/>
        </a:solidFill>
      </dgm:spPr>
      <dgm:t>
        <a:bodyPr/>
        <a:lstStyle/>
        <a:p>
          <a:r>
            <a:rPr lang="en-US" sz="1200" b="1" dirty="0">
              <a:solidFill>
                <a:schemeClr val="bg1"/>
              </a:solidFill>
            </a:rPr>
            <a:t>Governance</a:t>
          </a:r>
        </a:p>
      </dgm:t>
    </dgm:pt>
    <dgm:pt modelId="{3C81D417-FF6B-4B73-A5D6-469989EB7D8A}" type="parTrans" cxnId="{03EC5BF9-834B-4564-BA80-7196E8D273DA}">
      <dgm:prSet/>
      <dgm:spPr/>
      <dgm:t>
        <a:bodyPr/>
        <a:lstStyle/>
        <a:p>
          <a:endParaRPr lang="en-US"/>
        </a:p>
      </dgm:t>
    </dgm:pt>
    <dgm:pt modelId="{32295262-DF2B-4DF3-A40F-BDBEA09C1215}" type="sibTrans" cxnId="{03EC5BF9-834B-4564-BA80-7196E8D273DA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endParaRPr lang="en-US"/>
        </a:p>
      </dgm:t>
    </dgm:pt>
    <dgm:pt modelId="{C0A4D372-6ECF-4F6F-9404-90BCD6E60FA8}">
      <dgm:prSet phldrT="[Text]" custT="1"/>
      <dgm:spPr>
        <a:solidFill>
          <a:srgbClr val="1E22AA"/>
        </a:solidFill>
      </dgm:spPr>
      <dgm:t>
        <a:bodyPr/>
        <a:lstStyle/>
        <a:p>
          <a:r>
            <a:rPr lang="en-US" sz="1200" b="1" dirty="0">
              <a:solidFill>
                <a:schemeClr val="bg1"/>
              </a:solidFill>
            </a:rPr>
            <a:t>Process</a:t>
          </a:r>
        </a:p>
      </dgm:t>
    </dgm:pt>
    <dgm:pt modelId="{4F7871B8-D0BF-499F-820D-C57AD88253E8}" type="parTrans" cxnId="{864F474F-B268-46D3-8FAA-DEB9C5AAD4D6}">
      <dgm:prSet/>
      <dgm:spPr/>
      <dgm:t>
        <a:bodyPr/>
        <a:lstStyle/>
        <a:p>
          <a:endParaRPr lang="en-US"/>
        </a:p>
      </dgm:t>
    </dgm:pt>
    <dgm:pt modelId="{6314BB6D-16A4-426E-A7F1-DB503B96815E}" type="sibTrans" cxnId="{864F474F-B268-46D3-8FAA-DEB9C5AAD4D6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endParaRPr lang="en-US"/>
        </a:p>
      </dgm:t>
    </dgm:pt>
    <dgm:pt modelId="{59A334BF-5693-41F9-8999-0D13B89E909C}">
      <dgm:prSet phldrT="[Text]" custT="1"/>
      <dgm:spPr>
        <a:solidFill>
          <a:srgbClr val="1E22AA"/>
        </a:solidFill>
      </dgm:spPr>
      <dgm:t>
        <a:bodyPr/>
        <a:lstStyle/>
        <a:p>
          <a:r>
            <a:rPr lang="en-US" sz="1200" b="1" dirty="0">
              <a:solidFill>
                <a:schemeClr val="bg1"/>
              </a:solidFill>
            </a:rPr>
            <a:t>Technology</a:t>
          </a:r>
        </a:p>
      </dgm:t>
    </dgm:pt>
    <dgm:pt modelId="{15C0A451-E83A-4BEF-910A-5640506DC0C1}" type="sibTrans" cxnId="{7D469AA7-B6B8-4AE8-9EBA-D9A5AD46A54C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endParaRPr lang="en-US"/>
        </a:p>
      </dgm:t>
    </dgm:pt>
    <dgm:pt modelId="{E2E06D27-B324-4AF5-A11E-56F1113B2D5E}" type="parTrans" cxnId="{7D469AA7-B6B8-4AE8-9EBA-D9A5AD46A54C}">
      <dgm:prSet/>
      <dgm:spPr/>
      <dgm:t>
        <a:bodyPr/>
        <a:lstStyle/>
        <a:p>
          <a:endParaRPr lang="en-US"/>
        </a:p>
      </dgm:t>
    </dgm:pt>
    <dgm:pt modelId="{DCDDAA30-2B5A-4201-9B1E-30F412510B4C}" type="pres">
      <dgm:prSet presAssocID="{84CB1A45-D47F-4139-8926-0E5260C00858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E5265EA8-7644-4528-A9D5-A72768F3755F}" type="pres">
      <dgm:prSet presAssocID="{0CC6AB14-710F-4A5A-8DF3-CF373BD79432}" presName="gear1" presStyleLbl="node1" presStyleIdx="0" presStyleCnt="3">
        <dgm:presLayoutVars>
          <dgm:chMax val="1"/>
          <dgm:bulletEnabled val="1"/>
        </dgm:presLayoutVars>
      </dgm:prSet>
      <dgm:spPr/>
    </dgm:pt>
    <dgm:pt modelId="{0BB61C2F-24B6-410F-AFD5-4B1D44CA7F05}" type="pres">
      <dgm:prSet presAssocID="{0CC6AB14-710F-4A5A-8DF3-CF373BD79432}" presName="gear1srcNode" presStyleLbl="node1" presStyleIdx="0" presStyleCnt="3"/>
      <dgm:spPr/>
    </dgm:pt>
    <dgm:pt modelId="{CE0E116C-D810-4C8C-AA4A-596052D9ABDB}" type="pres">
      <dgm:prSet presAssocID="{0CC6AB14-710F-4A5A-8DF3-CF373BD79432}" presName="gear1dstNode" presStyleLbl="node1" presStyleIdx="0" presStyleCnt="3"/>
      <dgm:spPr/>
    </dgm:pt>
    <dgm:pt modelId="{346DB48B-C274-411D-9438-4C79BDBF96B4}" type="pres">
      <dgm:prSet presAssocID="{C0A4D372-6ECF-4F6F-9404-90BCD6E60FA8}" presName="gear2" presStyleLbl="node1" presStyleIdx="1" presStyleCnt="3">
        <dgm:presLayoutVars>
          <dgm:chMax val="1"/>
          <dgm:bulletEnabled val="1"/>
        </dgm:presLayoutVars>
      </dgm:prSet>
      <dgm:spPr/>
    </dgm:pt>
    <dgm:pt modelId="{4C317C1A-2686-4D97-A36D-DCCE64CD6A89}" type="pres">
      <dgm:prSet presAssocID="{C0A4D372-6ECF-4F6F-9404-90BCD6E60FA8}" presName="gear2srcNode" presStyleLbl="node1" presStyleIdx="1" presStyleCnt="3"/>
      <dgm:spPr/>
    </dgm:pt>
    <dgm:pt modelId="{2BBEA066-75F7-4AF3-ABA0-08A3D071D932}" type="pres">
      <dgm:prSet presAssocID="{C0A4D372-6ECF-4F6F-9404-90BCD6E60FA8}" presName="gear2dstNode" presStyleLbl="node1" presStyleIdx="1" presStyleCnt="3"/>
      <dgm:spPr/>
    </dgm:pt>
    <dgm:pt modelId="{6648663F-2307-4C67-A1F7-5AB20C340D92}" type="pres">
      <dgm:prSet presAssocID="{59A334BF-5693-41F9-8999-0D13B89E909C}" presName="gear3" presStyleLbl="node1" presStyleIdx="2" presStyleCnt="3"/>
      <dgm:spPr/>
    </dgm:pt>
    <dgm:pt modelId="{AA9EC9BD-3F7C-40C7-91A1-90298C5E1F72}" type="pres">
      <dgm:prSet presAssocID="{59A334BF-5693-41F9-8999-0D13B89E909C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109D00B-6AB7-4368-BCA2-DE2DAA3F43F9}" type="pres">
      <dgm:prSet presAssocID="{59A334BF-5693-41F9-8999-0D13B89E909C}" presName="gear3srcNode" presStyleLbl="node1" presStyleIdx="2" presStyleCnt="3"/>
      <dgm:spPr/>
    </dgm:pt>
    <dgm:pt modelId="{8D11F351-1350-4CCC-B058-981D7EAF1AC4}" type="pres">
      <dgm:prSet presAssocID="{59A334BF-5693-41F9-8999-0D13B89E909C}" presName="gear3dstNode" presStyleLbl="node1" presStyleIdx="2" presStyleCnt="3"/>
      <dgm:spPr/>
    </dgm:pt>
    <dgm:pt modelId="{425B1BB0-5BA5-45BC-8CAC-8AF942AF0FA2}" type="pres">
      <dgm:prSet presAssocID="{32295262-DF2B-4DF3-A40F-BDBEA09C1215}" presName="connector1" presStyleLbl="sibTrans2D1" presStyleIdx="0" presStyleCnt="3"/>
      <dgm:spPr/>
    </dgm:pt>
    <dgm:pt modelId="{C0FA1336-EF9D-40AC-9A01-BD951EB726E0}" type="pres">
      <dgm:prSet presAssocID="{6314BB6D-16A4-426E-A7F1-DB503B96815E}" presName="connector2" presStyleLbl="sibTrans2D1" presStyleIdx="1" presStyleCnt="3"/>
      <dgm:spPr/>
    </dgm:pt>
    <dgm:pt modelId="{8E0F9981-5D26-49B2-B528-8E821F578D23}" type="pres">
      <dgm:prSet presAssocID="{15C0A451-E83A-4BEF-910A-5640506DC0C1}" presName="connector3" presStyleLbl="sibTrans2D1" presStyleIdx="2" presStyleCnt="3"/>
      <dgm:spPr/>
    </dgm:pt>
  </dgm:ptLst>
  <dgm:cxnLst>
    <dgm:cxn modelId="{F8BF8B16-E284-4BE5-8BE1-EA2F4DED084E}" type="presOf" srcId="{32295262-DF2B-4DF3-A40F-BDBEA09C1215}" destId="{425B1BB0-5BA5-45BC-8CAC-8AF942AF0FA2}" srcOrd="0" destOrd="0" presId="urn:microsoft.com/office/officeart/2005/8/layout/gear1"/>
    <dgm:cxn modelId="{FD4E2727-5E8E-4478-B983-DC2295BF14A6}" type="presOf" srcId="{15C0A451-E83A-4BEF-910A-5640506DC0C1}" destId="{8E0F9981-5D26-49B2-B528-8E821F578D23}" srcOrd="0" destOrd="0" presId="urn:microsoft.com/office/officeart/2005/8/layout/gear1"/>
    <dgm:cxn modelId="{FE46022A-F5D4-45DF-B76F-53DA58AB976A}" type="presOf" srcId="{C0A4D372-6ECF-4F6F-9404-90BCD6E60FA8}" destId="{2BBEA066-75F7-4AF3-ABA0-08A3D071D932}" srcOrd="2" destOrd="0" presId="urn:microsoft.com/office/officeart/2005/8/layout/gear1"/>
    <dgm:cxn modelId="{8AD13833-28BD-4528-A976-A8FAF0FF2711}" type="presOf" srcId="{6314BB6D-16A4-426E-A7F1-DB503B96815E}" destId="{C0FA1336-EF9D-40AC-9A01-BD951EB726E0}" srcOrd="0" destOrd="0" presId="urn:microsoft.com/office/officeart/2005/8/layout/gear1"/>
    <dgm:cxn modelId="{3A18B544-0503-4E57-843F-317D2663B925}" type="presOf" srcId="{84CB1A45-D47F-4139-8926-0E5260C00858}" destId="{DCDDAA30-2B5A-4201-9B1E-30F412510B4C}" srcOrd="0" destOrd="0" presId="urn:microsoft.com/office/officeart/2005/8/layout/gear1"/>
    <dgm:cxn modelId="{864F474F-B268-46D3-8FAA-DEB9C5AAD4D6}" srcId="{84CB1A45-D47F-4139-8926-0E5260C00858}" destId="{C0A4D372-6ECF-4F6F-9404-90BCD6E60FA8}" srcOrd="1" destOrd="0" parTransId="{4F7871B8-D0BF-499F-820D-C57AD88253E8}" sibTransId="{6314BB6D-16A4-426E-A7F1-DB503B96815E}"/>
    <dgm:cxn modelId="{6017BF72-347C-4754-B1D7-36A6A5C5BAE3}" type="presOf" srcId="{0CC6AB14-710F-4A5A-8DF3-CF373BD79432}" destId="{E5265EA8-7644-4528-A9D5-A72768F3755F}" srcOrd="0" destOrd="0" presId="urn:microsoft.com/office/officeart/2005/8/layout/gear1"/>
    <dgm:cxn modelId="{D817CE59-80CB-497F-BEC6-6DE6C4D52398}" type="presOf" srcId="{0CC6AB14-710F-4A5A-8DF3-CF373BD79432}" destId="{0BB61C2F-24B6-410F-AFD5-4B1D44CA7F05}" srcOrd="1" destOrd="0" presId="urn:microsoft.com/office/officeart/2005/8/layout/gear1"/>
    <dgm:cxn modelId="{229BA57A-3E31-4462-90F5-7D5174C659D6}" type="presOf" srcId="{59A334BF-5693-41F9-8999-0D13B89E909C}" destId="{AA9EC9BD-3F7C-40C7-91A1-90298C5E1F72}" srcOrd="1" destOrd="0" presId="urn:microsoft.com/office/officeart/2005/8/layout/gear1"/>
    <dgm:cxn modelId="{7AC4D78B-95CC-4490-AA3E-D78D250FD4B9}" type="presOf" srcId="{C0A4D372-6ECF-4F6F-9404-90BCD6E60FA8}" destId="{346DB48B-C274-411D-9438-4C79BDBF96B4}" srcOrd="0" destOrd="0" presId="urn:microsoft.com/office/officeart/2005/8/layout/gear1"/>
    <dgm:cxn modelId="{7D469AA7-B6B8-4AE8-9EBA-D9A5AD46A54C}" srcId="{84CB1A45-D47F-4139-8926-0E5260C00858}" destId="{59A334BF-5693-41F9-8999-0D13B89E909C}" srcOrd="2" destOrd="0" parTransId="{E2E06D27-B324-4AF5-A11E-56F1113B2D5E}" sibTransId="{15C0A451-E83A-4BEF-910A-5640506DC0C1}"/>
    <dgm:cxn modelId="{4798F0B5-37E9-4D43-9D56-28B4A23C429C}" type="presOf" srcId="{59A334BF-5693-41F9-8999-0D13B89E909C}" destId="{8D11F351-1350-4CCC-B058-981D7EAF1AC4}" srcOrd="3" destOrd="0" presId="urn:microsoft.com/office/officeart/2005/8/layout/gear1"/>
    <dgm:cxn modelId="{1AEB64D7-EE81-498E-8BCC-3E73616A0399}" type="presOf" srcId="{59A334BF-5693-41F9-8999-0D13B89E909C}" destId="{6648663F-2307-4C67-A1F7-5AB20C340D92}" srcOrd="0" destOrd="0" presId="urn:microsoft.com/office/officeart/2005/8/layout/gear1"/>
    <dgm:cxn modelId="{3B114FDD-4705-4187-9C3A-A5EE725C5D2D}" type="presOf" srcId="{0CC6AB14-710F-4A5A-8DF3-CF373BD79432}" destId="{CE0E116C-D810-4C8C-AA4A-596052D9ABDB}" srcOrd="2" destOrd="0" presId="urn:microsoft.com/office/officeart/2005/8/layout/gear1"/>
    <dgm:cxn modelId="{74E81DF5-25FA-4A0B-B123-966A596C5561}" type="presOf" srcId="{59A334BF-5693-41F9-8999-0D13B89E909C}" destId="{A109D00B-6AB7-4368-BCA2-DE2DAA3F43F9}" srcOrd="2" destOrd="0" presId="urn:microsoft.com/office/officeart/2005/8/layout/gear1"/>
    <dgm:cxn modelId="{1A923AF9-ABAF-4B1D-95F1-EFA446DE6B17}" type="presOf" srcId="{C0A4D372-6ECF-4F6F-9404-90BCD6E60FA8}" destId="{4C317C1A-2686-4D97-A36D-DCCE64CD6A89}" srcOrd="1" destOrd="0" presId="urn:microsoft.com/office/officeart/2005/8/layout/gear1"/>
    <dgm:cxn modelId="{03EC5BF9-834B-4564-BA80-7196E8D273DA}" srcId="{84CB1A45-D47F-4139-8926-0E5260C00858}" destId="{0CC6AB14-710F-4A5A-8DF3-CF373BD79432}" srcOrd="0" destOrd="0" parTransId="{3C81D417-FF6B-4B73-A5D6-469989EB7D8A}" sibTransId="{32295262-DF2B-4DF3-A40F-BDBEA09C1215}"/>
    <dgm:cxn modelId="{D048CCC7-EA7E-4022-BDD0-D69F910274DE}" type="presParOf" srcId="{DCDDAA30-2B5A-4201-9B1E-30F412510B4C}" destId="{E5265EA8-7644-4528-A9D5-A72768F3755F}" srcOrd="0" destOrd="0" presId="urn:microsoft.com/office/officeart/2005/8/layout/gear1"/>
    <dgm:cxn modelId="{8407CAD7-FD08-4C30-BF90-FE8EAD5627E5}" type="presParOf" srcId="{DCDDAA30-2B5A-4201-9B1E-30F412510B4C}" destId="{0BB61C2F-24B6-410F-AFD5-4B1D44CA7F05}" srcOrd="1" destOrd="0" presId="urn:microsoft.com/office/officeart/2005/8/layout/gear1"/>
    <dgm:cxn modelId="{5C8791B3-9FC2-4396-BD19-035DB32B19F0}" type="presParOf" srcId="{DCDDAA30-2B5A-4201-9B1E-30F412510B4C}" destId="{CE0E116C-D810-4C8C-AA4A-596052D9ABDB}" srcOrd="2" destOrd="0" presId="urn:microsoft.com/office/officeart/2005/8/layout/gear1"/>
    <dgm:cxn modelId="{E7DE6890-7BF7-43AF-9911-F9D40A1DB2AA}" type="presParOf" srcId="{DCDDAA30-2B5A-4201-9B1E-30F412510B4C}" destId="{346DB48B-C274-411D-9438-4C79BDBF96B4}" srcOrd="3" destOrd="0" presId="urn:microsoft.com/office/officeart/2005/8/layout/gear1"/>
    <dgm:cxn modelId="{972EDC9E-D856-43BA-84AE-7D7DBFC145D8}" type="presParOf" srcId="{DCDDAA30-2B5A-4201-9B1E-30F412510B4C}" destId="{4C317C1A-2686-4D97-A36D-DCCE64CD6A89}" srcOrd="4" destOrd="0" presId="urn:microsoft.com/office/officeart/2005/8/layout/gear1"/>
    <dgm:cxn modelId="{CFAB1512-B280-4F71-AFF4-E1AEF937E940}" type="presParOf" srcId="{DCDDAA30-2B5A-4201-9B1E-30F412510B4C}" destId="{2BBEA066-75F7-4AF3-ABA0-08A3D071D932}" srcOrd="5" destOrd="0" presId="urn:microsoft.com/office/officeart/2005/8/layout/gear1"/>
    <dgm:cxn modelId="{BB557082-F7B7-42FB-88FF-ED09F532B7CE}" type="presParOf" srcId="{DCDDAA30-2B5A-4201-9B1E-30F412510B4C}" destId="{6648663F-2307-4C67-A1F7-5AB20C340D92}" srcOrd="6" destOrd="0" presId="urn:microsoft.com/office/officeart/2005/8/layout/gear1"/>
    <dgm:cxn modelId="{FA1901B8-6ED4-4030-A348-3A56541B6F4D}" type="presParOf" srcId="{DCDDAA30-2B5A-4201-9B1E-30F412510B4C}" destId="{AA9EC9BD-3F7C-40C7-91A1-90298C5E1F72}" srcOrd="7" destOrd="0" presId="urn:microsoft.com/office/officeart/2005/8/layout/gear1"/>
    <dgm:cxn modelId="{984CF94B-2C0B-4E3E-936F-A6A0224BE276}" type="presParOf" srcId="{DCDDAA30-2B5A-4201-9B1E-30F412510B4C}" destId="{A109D00B-6AB7-4368-BCA2-DE2DAA3F43F9}" srcOrd="8" destOrd="0" presId="urn:microsoft.com/office/officeart/2005/8/layout/gear1"/>
    <dgm:cxn modelId="{1354A734-EC49-42C3-B629-ADCBFA7513B2}" type="presParOf" srcId="{DCDDAA30-2B5A-4201-9B1E-30F412510B4C}" destId="{8D11F351-1350-4CCC-B058-981D7EAF1AC4}" srcOrd="9" destOrd="0" presId="urn:microsoft.com/office/officeart/2005/8/layout/gear1"/>
    <dgm:cxn modelId="{33F25496-9494-4E55-9B30-434306233249}" type="presParOf" srcId="{DCDDAA30-2B5A-4201-9B1E-30F412510B4C}" destId="{425B1BB0-5BA5-45BC-8CAC-8AF942AF0FA2}" srcOrd="10" destOrd="0" presId="urn:microsoft.com/office/officeart/2005/8/layout/gear1"/>
    <dgm:cxn modelId="{FDE19D15-F27C-405D-983F-4B000FF02135}" type="presParOf" srcId="{DCDDAA30-2B5A-4201-9B1E-30F412510B4C}" destId="{C0FA1336-EF9D-40AC-9A01-BD951EB726E0}" srcOrd="11" destOrd="0" presId="urn:microsoft.com/office/officeart/2005/8/layout/gear1"/>
    <dgm:cxn modelId="{AB8DE1C2-8928-4E57-95BD-59D60BCC78FB}" type="presParOf" srcId="{DCDDAA30-2B5A-4201-9B1E-30F412510B4C}" destId="{8E0F9981-5D26-49B2-B528-8E821F578D23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CDAFC5-4254-4331-A81D-D57B3FBAFEBF}">
      <dsp:nvSpPr>
        <dsp:cNvPr id="0" name=""/>
        <dsp:cNvSpPr/>
      </dsp:nvSpPr>
      <dsp:spPr>
        <a:xfrm>
          <a:off x="2948939" y="1784909"/>
          <a:ext cx="2086396" cy="3621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1050"/>
              </a:lnTo>
              <a:lnTo>
                <a:pt x="2086396" y="181050"/>
              </a:lnTo>
              <a:lnTo>
                <a:pt x="2086396" y="362101"/>
              </a:lnTo>
            </a:path>
          </a:pathLst>
        </a:custGeom>
        <a:noFill/>
        <a:ln w="25400" cap="flat" cmpd="sng" algn="ctr">
          <a:solidFill>
            <a:srgbClr val="1E22AA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625866-08DF-427A-A2DA-1A708AE5507E}">
      <dsp:nvSpPr>
        <dsp:cNvPr id="0" name=""/>
        <dsp:cNvSpPr/>
      </dsp:nvSpPr>
      <dsp:spPr>
        <a:xfrm>
          <a:off x="2903219" y="1784909"/>
          <a:ext cx="91440" cy="36210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62101"/>
              </a:lnTo>
            </a:path>
          </a:pathLst>
        </a:custGeom>
        <a:noFill/>
        <a:ln w="25400" cap="flat" cmpd="sng" algn="ctr">
          <a:solidFill>
            <a:srgbClr val="1E22AA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4D0E78-C192-4306-A50A-17DBA350722F}">
      <dsp:nvSpPr>
        <dsp:cNvPr id="0" name=""/>
        <dsp:cNvSpPr/>
      </dsp:nvSpPr>
      <dsp:spPr>
        <a:xfrm>
          <a:off x="862147" y="1784909"/>
          <a:ext cx="2086792" cy="362101"/>
        </a:xfrm>
        <a:custGeom>
          <a:avLst/>
          <a:gdLst/>
          <a:ahLst/>
          <a:cxnLst/>
          <a:rect l="0" t="0" r="0" b="0"/>
          <a:pathLst>
            <a:path>
              <a:moveTo>
                <a:pt x="2086792" y="0"/>
              </a:moveTo>
              <a:lnTo>
                <a:pt x="2086792" y="181050"/>
              </a:lnTo>
              <a:lnTo>
                <a:pt x="0" y="181050"/>
              </a:lnTo>
              <a:lnTo>
                <a:pt x="0" y="362101"/>
              </a:lnTo>
            </a:path>
          </a:pathLst>
        </a:custGeom>
        <a:noFill/>
        <a:ln w="25400" cap="flat" cmpd="sng" algn="ctr">
          <a:solidFill>
            <a:srgbClr val="1E22AA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277416-1B4D-45C4-99BA-7252031F4CFA}">
      <dsp:nvSpPr>
        <dsp:cNvPr id="0" name=""/>
        <dsp:cNvSpPr/>
      </dsp:nvSpPr>
      <dsp:spPr>
        <a:xfrm>
          <a:off x="2517866" y="922761"/>
          <a:ext cx="862147" cy="862147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rgbClr val="1E22AA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173C54-AF5D-4195-9023-ACAA9B4512F5}">
      <dsp:nvSpPr>
        <dsp:cNvPr id="0" name=""/>
        <dsp:cNvSpPr/>
      </dsp:nvSpPr>
      <dsp:spPr>
        <a:xfrm>
          <a:off x="2517866" y="922761"/>
          <a:ext cx="862147" cy="862147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rgbClr val="1E22AA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4DB9359-30D2-4355-BB4B-2690996E7637}">
      <dsp:nvSpPr>
        <dsp:cNvPr id="0" name=""/>
        <dsp:cNvSpPr/>
      </dsp:nvSpPr>
      <dsp:spPr>
        <a:xfrm>
          <a:off x="2086792" y="1077948"/>
          <a:ext cx="1724294" cy="551774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Global Content Strategy</a:t>
          </a:r>
        </a:p>
      </dsp:txBody>
      <dsp:txXfrm>
        <a:off x="2086792" y="1077948"/>
        <a:ext cx="1724294" cy="551774"/>
      </dsp:txXfrm>
    </dsp:sp>
    <dsp:sp modelId="{B1012554-C44F-4511-B3EE-0B3175044AAC}">
      <dsp:nvSpPr>
        <dsp:cNvPr id="0" name=""/>
        <dsp:cNvSpPr/>
      </dsp:nvSpPr>
      <dsp:spPr>
        <a:xfrm>
          <a:off x="431073" y="2147010"/>
          <a:ext cx="862147" cy="862147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rgbClr val="1E22AA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1BF0D5-5929-461E-8157-DB6C03FC2172}">
      <dsp:nvSpPr>
        <dsp:cNvPr id="0" name=""/>
        <dsp:cNvSpPr/>
      </dsp:nvSpPr>
      <dsp:spPr>
        <a:xfrm>
          <a:off x="431073" y="2147010"/>
          <a:ext cx="862147" cy="862147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rgbClr val="1E22AA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A7C627-B928-4F67-86A8-2C25F7CC45D5}">
      <dsp:nvSpPr>
        <dsp:cNvPr id="0" name=""/>
        <dsp:cNvSpPr/>
      </dsp:nvSpPr>
      <dsp:spPr>
        <a:xfrm>
          <a:off x="0" y="2302197"/>
          <a:ext cx="1724294" cy="551774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ontent Success</a:t>
          </a:r>
        </a:p>
      </dsp:txBody>
      <dsp:txXfrm>
        <a:off x="0" y="2302197"/>
        <a:ext cx="1724294" cy="551774"/>
      </dsp:txXfrm>
    </dsp:sp>
    <dsp:sp modelId="{3C6B8845-8A13-4552-B4E9-F2413ECFCA50}">
      <dsp:nvSpPr>
        <dsp:cNvPr id="0" name=""/>
        <dsp:cNvSpPr/>
      </dsp:nvSpPr>
      <dsp:spPr>
        <a:xfrm>
          <a:off x="2517866" y="2147010"/>
          <a:ext cx="862147" cy="862147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rgbClr val="1E22AA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859151-8A65-479F-8248-ABDD07D9E8F9}">
      <dsp:nvSpPr>
        <dsp:cNvPr id="0" name=""/>
        <dsp:cNvSpPr/>
      </dsp:nvSpPr>
      <dsp:spPr>
        <a:xfrm>
          <a:off x="2517866" y="2147010"/>
          <a:ext cx="862147" cy="862147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rgbClr val="1E22AA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54A789-E6EE-4465-B3E6-E7305571561C}">
      <dsp:nvSpPr>
        <dsp:cNvPr id="0" name=""/>
        <dsp:cNvSpPr/>
      </dsp:nvSpPr>
      <dsp:spPr>
        <a:xfrm>
          <a:off x="2086792" y="2302197"/>
          <a:ext cx="1724294" cy="551774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actical Execution</a:t>
          </a:r>
        </a:p>
      </dsp:txBody>
      <dsp:txXfrm>
        <a:off x="2086792" y="2302197"/>
        <a:ext cx="1724294" cy="551774"/>
      </dsp:txXfrm>
    </dsp:sp>
    <dsp:sp modelId="{8F45819C-8FC7-47F0-96A3-4B532A4C6321}">
      <dsp:nvSpPr>
        <dsp:cNvPr id="0" name=""/>
        <dsp:cNvSpPr/>
      </dsp:nvSpPr>
      <dsp:spPr>
        <a:xfrm>
          <a:off x="4604262" y="2147010"/>
          <a:ext cx="862147" cy="862147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rgbClr val="1E22AA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C0D577-5F86-478D-AC73-10EFFF0DE890}">
      <dsp:nvSpPr>
        <dsp:cNvPr id="0" name=""/>
        <dsp:cNvSpPr/>
      </dsp:nvSpPr>
      <dsp:spPr>
        <a:xfrm>
          <a:off x="4604262" y="2147010"/>
          <a:ext cx="862147" cy="862147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rgbClr val="1E22AA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AE7D99-EADC-4A2E-B570-444473797156}">
      <dsp:nvSpPr>
        <dsp:cNvPr id="0" name=""/>
        <dsp:cNvSpPr/>
      </dsp:nvSpPr>
      <dsp:spPr>
        <a:xfrm>
          <a:off x="4173189" y="2302197"/>
          <a:ext cx="1724294" cy="551774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Governance &amp; Standards</a:t>
          </a:r>
        </a:p>
      </dsp:txBody>
      <dsp:txXfrm>
        <a:off x="4173189" y="2302197"/>
        <a:ext cx="1724294" cy="55177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265EA8-7644-4528-A9D5-A72768F3755F}">
      <dsp:nvSpPr>
        <dsp:cNvPr id="0" name=""/>
        <dsp:cNvSpPr/>
      </dsp:nvSpPr>
      <dsp:spPr>
        <a:xfrm>
          <a:off x="3658456" y="1892808"/>
          <a:ext cx="2313432" cy="2313432"/>
        </a:xfrm>
        <a:prstGeom prst="gear9">
          <a:avLst/>
        </a:prstGeom>
        <a:solidFill>
          <a:srgbClr val="1E22A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Governance</a:t>
          </a:r>
        </a:p>
      </dsp:txBody>
      <dsp:txXfrm>
        <a:off x="4123559" y="2434718"/>
        <a:ext cx="1383226" cy="1189152"/>
      </dsp:txXfrm>
    </dsp:sp>
    <dsp:sp modelId="{346DB48B-C274-411D-9438-4C79BDBF96B4}">
      <dsp:nvSpPr>
        <dsp:cNvPr id="0" name=""/>
        <dsp:cNvSpPr/>
      </dsp:nvSpPr>
      <dsp:spPr>
        <a:xfrm>
          <a:off x="2312459" y="1345996"/>
          <a:ext cx="1682496" cy="1682496"/>
        </a:xfrm>
        <a:prstGeom prst="gear6">
          <a:avLst/>
        </a:prstGeom>
        <a:solidFill>
          <a:srgbClr val="1E22A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Process</a:t>
          </a:r>
        </a:p>
      </dsp:txBody>
      <dsp:txXfrm>
        <a:off x="2736032" y="1772129"/>
        <a:ext cx="835350" cy="830230"/>
      </dsp:txXfrm>
    </dsp:sp>
    <dsp:sp modelId="{6648663F-2307-4C67-A1F7-5AB20C340D92}">
      <dsp:nvSpPr>
        <dsp:cNvPr id="0" name=""/>
        <dsp:cNvSpPr/>
      </dsp:nvSpPr>
      <dsp:spPr>
        <a:xfrm rot="20700000">
          <a:off x="3254829" y="185246"/>
          <a:ext cx="1648502" cy="1648502"/>
        </a:xfrm>
        <a:prstGeom prst="gear6">
          <a:avLst/>
        </a:prstGeom>
        <a:solidFill>
          <a:srgbClr val="1E22A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bg1"/>
              </a:solidFill>
            </a:rPr>
            <a:t>Technology</a:t>
          </a:r>
        </a:p>
      </dsp:txBody>
      <dsp:txXfrm rot="-20700000">
        <a:off x="3616394" y="546811"/>
        <a:ext cx="925372" cy="925372"/>
      </dsp:txXfrm>
    </dsp:sp>
    <dsp:sp modelId="{425B1BB0-5BA5-45BC-8CAC-8AF942AF0FA2}">
      <dsp:nvSpPr>
        <dsp:cNvPr id="0" name=""/>
        <dsp:cNvSpPr/>
      </dsp:nvSpPr>
      <dsp:spPr>
        <a:xfrm>
          <a:off x="3480700" y="1543641"/>
          <a:ext cx="2961192" cy="2961192"/>
        </a:xfrm>
        <a:prstGeom prst="circularArrow">
          <a:avLst>
            <a:gd name="adj1" fmla="val 4688"/>
            <a:gd name="adj2" fmla="val 299029"/>
            <a:gd name="adj3" fmla="val 2516527"/>
            <a:gd name="adj4" fmla="val 15860499"/>
            <a:gd name="adj5" fmla="val 5469"/>
          </a:avLst>
        </a:prstGeom>
        <a:solidFill>
          <a:schemeClr val="accent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FA1336-EF9D-40AC-9A01-BD951EB726E0}">
      <dsp:nvSpPr>
        <dsp:cNvPr id="0" name=""/>
        <dsp:cNvSpPr/>
      </dsp:nvSpPr>
      <dsp:spPr>
        <a:xfrm>
          <a:off x="2014492" y="973672"/>
          <a:ext cx="2151491" cy="215149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0F9981-5D26-49B2-B528-8E821F578D23}">
      <dsp:nvSpPr>
        <dsp:cNvPr id="0" name=""/>
        <dsp:cNvSpPr/>
      </dsp:nvSpPr>
      <dsp:spPr>
        <a:xfrm>
          <a:off x="2873513" y="-175889"/>
          <a:ext cx="2319741" cy="231974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6" name="Rectangle 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1300"/>
            </a:lvl1pPr>
          </a:lstStyle>
          <a:p>
            <a:endParaRPr lang="en-US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3587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300"/>
            </a:lvl1pPr>
          </a:lstStyle>
          <a:p>
            <a:endParaRPr lang="en-US"/>
          </a:p>
        </p:txBody>
      </p:sp>
      <p:sp>
        <p:nvSpPr>
          <p:cNvPr id="15368" name="Rectangle 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19474"/>
            <a:ext cx="5940213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1300"/>
            </a:lvl1pPr>
          </a:lstStyle>
          <a:p>
            <a:endParaRPr lang="en-US"/>
          </a:p>
        </p:txBody>
      </p:sp>
      <p:sp>
        <p:nvSpPr>
          <p:cNvPr id="15369" name="Rectangle 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118015" y="9119474"/>
            <a:ext cx="1195493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300"/>
            </a:lvl1pPr>
          </a:lstStyle>
          <a:p>
            <a:fld id="{6A48D351-BF5F-7D49-8150-A7E8E8CC44E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836436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6661" tIns="48331" rIns="96661" bIns="48331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2854" y="4560570"/>
            <a:ext cx="6529493" cy="4320540"/>
          </a:xfrm>
          <a:prstGeom prst="rect">
            <a:avLst/>
          </a:prstGeom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392" name="Rectangle 8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1300"/>
            </a:lvl1pPr>
          </a:lstStyle>
          <a:p>
            <a:endParaRPr lang="en-US"/>
          </a:p>
        </p:txBody>
      </p:sp>
      <p:sp>
        <p:nvSpPr>
          <p:cNvPr id="16393" name="Rectangle 9"/>
          <p:cNvSpPr>
            <a:spLocks noGrp="1" noChangeArrowheads="1"/>
          </p:cNvSpPr>
          <p:nvPr>
            <p:ph type="dt" idx="1"/>
          </p:nvPr>
        </p:nvSpPr>
        <p:spPr bwMode="auto">
          <a:xfrm>
            <a:off x="4143587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300"/>
            </a:lvl1pPr>
          </a:lstStyle>
          <a:p>
            <a:endParaRPr lang="en-US"/>
          </a:p>
        </p:txBody>
      </p:sp>
      <p:sp>
        <p:nvSpPr>
          <p:cNvPr id="16394" name="Rectangle 1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19474"/>
            <a:ext cx="5940213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1300"/>
            </a:lvl1pPr>
          </a:lstStyle>
          <a:p>
            <a:endParaRPr lang="en-US"/>
          </a:p>
        </p:txBody>
      </p:sp>
      <p:sp>
        <p:nvSpPr>
          <p:cNvPr id="16395" name="Rectangle 1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33253" y="9119474"/>
            <a:ext cx="1180254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300"/>
            </a:lvl1pPr>
          </a:lstStyle>
          <a:p>
            <a:fld id="{B976D8D5-0ECD-3A4D-8E63-E16D685F069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93953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80010" indent="-80010" algn="l" defTabSz="320040" rtl="0" eaLnBrk="0" fontAlgn="base" hangingPunct="0">
      <a:lnSpc>
        <a:spcPct val="90000"/>
      </a:lnSpc>
      <a:spcBef>
        <a:spcPts val="700"/>
      </a:spcBef>
      <a:spcAft>
        <a:spcPct val="0"/>
      </a:spcAft>
      <a:buFont typeface="Arial" pitchFamily="34" charset="0"/>
      <a:buChar char="•"/>
      <a:defRPr sz="8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1pPr>
    <a:lvl2pPr marL="400050" indent="-80010" algn="l" defTabSz="320040" rtl="0" eaLnBrk="0" fontAlgn="base" hangingPunct="0">
      <a:lnSpc>
        <a:spcPct val="90000"/>
      </a:lnSpc>
      <a:spcBef>
        <a:spcPts val="140"/>
      </a:spcBef>
      <a:spcAft>
        <a:spcPct val="0"/>
      </a:spcAft>
      <a:buFont typeface="Arial" pitchFamily="34" charset="0"/>
      <a:buChar char="•"/>
      <a:defRPr sz="8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2pPr>
    <a:lvl3pPr marL="720090" indent="-80010" algn="l" defTabSz="320040" rtl="0" eaLnBrk="0" fontAlgn="base" hangingPunct="0">
      <a:lnSpc>
        <a:spcPct val="90000"/>
      </a:lnSpc>
      <a:spcBef>
        <a:spcPts val="140"/>
      </a:spcBef>
      <a:spcAft>
        <a:spcPct val="0"/>
      </a:spcAft>
      <a:buFont typeface="Arial" pitchFamily="34" charset="0"/>
      <a:buChar char="•"/>
      <a:defRPr sz="8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3pPr>
    <a:lvl4pPr marL="1040130" indent="-80010" algn="l" defTabSz="320040" rtl="0" eaLnBrk="0" fontAlgn="base" hangingPunct="0">
      <a:lnSpc>
        <a:spcPct val="90000"/>
      </a:lnSpc>
      <a:spcBef>
        <a:spcPts val="140"/>
      </a:spcBef>
      <a:spcAft>
        <a:spcPct val="0"/>
      </a:spcAft>
      <a:buFont typeface="Arial" pitchFamily="34" charset="0"/>
      <a:buChar char="•"/>
      <a:defRPr sz="8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4pPr>
    <a:lvl5pPr marL="1360170" indent="-80010" algn="l" defTabSz="320040" rtl="0" eaLnBrk="0" fontAlgn="base" hangingPunct="0">
      <a:lnSpc>
        <a:spcPct val="90000"/>
      </a:lnSpc>
      <a:spcBef>
        <a:spcPts val="140"/>
      </a:spcBef>
      <a:spcAft>
        <a:spcPct val="0"/>
      </a:spcAft>
      <a:buFont typeface="Arial" pitchFamily="34" charset="0"/>
      <a:buChar char="•"/>
      <a:defRPr sz="800" kern="1200">
        <a:solidFill>
          <a:schemeClr val="tx1"/>
        </a:solidFill>
        <a:latin typeface="Arial" pitchFamily="-65" charset="0"/>
        <a:ea typeface="Arial Unicode MS" pitchFamily="-65" charset="0"/>
        <a:cs typeface="Arial Unicode MS" pitchFamily="-65" charset="0"/>
      </a:defRPr>
    </a:lvl5pPr>
    <a:lvl6pPr marL="1600200" algn="l" defTabSz="32004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920240" algn="l" defTabSz="32004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240280" algn="l" defTabSz="32004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60320" algn="l" defTabSz="32004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976D8D5-0ECD-3A4D-8E63-E16D685F0695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69BBB27-397A-DA40-BBE7-E2723269D55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4484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1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A92C90B-56A4-4D43-94D2-D5D8DD6CA07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9961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338314">
              <a:spcBef>
                <a:spcPts val="740"/>
              </a:spcBef>
              <a:buNone/>
              <a:defRPr/>
            </a:pPr>
            <a:r>
              <a:rPr lang="en-US" b="1">
                <a:latin typeface="Arial"/>
                <a:ea typeface="Arial Unicode MS"/>
                <a:cs typeface="Arial"/>
              </a:rPr>
              <a:t>Who: Jazz; Time: 1.5mins</a:t>
            </a:r>
          </a:p>
          <a:p>
            <a:pPr marL="0" indent="0">
              <a:buNone/>
            </a:pPr>
            <a:r>
              <a:rPr lang="en-US" b="1">
                <a:latin typeface="Arial"/>
                <a:ea typeface="Arial Unicode MS"/>
                <a:cs typeface="Arial"/>
              </a:rPr>
              <a:t>Slide/Talking Notes:</a:t>
            </a:r>
          </a:p>
          <a:p>
            <a:pPr marL="84579" indent="-84579"/>
            <a:r>
              <a:rPr lang="en-US">
                <a:latin typeface="Arial"/>
                <a:ea typeface="Arial Unicode MS"/>
                <a:cs typeface="Arial"/>
              </a:rPr>
              <a:t>Brief Intro of improvements by Operational Indicators and User Sentiment / Positive User Indicators…</a:t>
            </a:r>
          </a:p>
          <a:p>
            <a:pPr marL="0" indent="0">
              <a:buNone/>
            </a:pPr>
            <a:r>
              <a:rPr lang="en-US" b="0" u="sng">
                <a:solidFill>
                  <a:srgbClr val="1E22AA"/>
                </a:solidFill>
                <a:latin typeface="Arial"/>
                <a:ea typeface="Arial Unicode MS"/>
                <a:cs typeface="Arial"/>
              </a:rPr>
              <a:t>Operational Indicators</a:t>
            </a:r>
            <a:r>
              <a:rPr lang="en-US" b="0" u="none">
                <a:solidFill>
                  <a:srgbClr val="1E22AA"/>
                </a:solidFill>
                <a:latin typeface="Arial"/>
                <a:ea typeface="Arial Unicode MS"/>
                <a:cs typeface="Arial"/>
              </a:rPr>
              <a:t> – elaborate on each metric a bit</a:t>
            </a:r>
          </a:p>
          <a:p>
            <a:r>
              <a:rPr lang="en-US">
                <a:latin typeface="Arial"/>
                <a:ea typeface="Arial Unicode MS"/>
                <a:cs typeface="Arial"/>
              </a:rPr>
              <a:t>In one year, we went from spending </a:t>
            </a:r>
            <a:r>
              <a:rPr lang="en-US" b="1">
                <a:latin typeface="Arial"/>
                <a:ea typeface="Arial Unicode MS"/>
                <a:cs typeface="Arial"/>
              </a:rPr>
              <a:t>18%</a:t>
            </a:r>
            <a:r>
              <a:rPr lang="en-US">
                <a:latin typeface="Arial"/>
                <a:ea typeface="Arial Unicode MS"/>
                <a:cs typeface="Arial"/>
              </a:rPr>
              <a:t> to </a:t>
            </a:r>
            <a:r>
              <a:rPr lang="en-US" b="1">
                <a:latin typeface="Arial"/>
                <a:ea typeface="Arial Unicode MS"/>
                <a:cs typeface="Arial"/>
              </a:rPr>
              <a:t>72%</a:t>
            </a:r>
            <a:r>
              <a:rPr lang="en-US">
                <a:latin typeface="Arial"/>
                <a:ea typeface="Arial Unicode MS"/>
                <a:cs typeface="Arial"/>
              </a:rPr>
              <a:t> of our time on content transformation activities (i.e., cleanup, archiving, and alignment to new standards).</a:t>
            </a:r>
          </a:p>
          <a:p>
            <a:r>
              <a:rPr lang="en-US">
                <a:latin typeface="Arial"/>
                <a:ea typeface="Arial Unicode MS"/>
                <a:cs typeface="Arial"/>
              </a:rPr>
              <a:t>By the end of our second year on this journey we were archiving </a:t>
            </a:r>
            <a:r>
              <a:rPr lang="en-US" b="1">
                <a:latin typeface="Arial"/>
                <a:ea typeface="Arial Unicode MS"/>
                <a:cs typeface="Arial"/>
              </a:rPr>
              <a:t>6</a:t>
            </a:r>
            <a:r>
              <a:rPr lang="en-US">
                <a:latin typeface="Arial"/>
                <a:ea typeface="Arial Unicode MS"/>
                <a:cs typeface="Arial"/>
              </a:rPr>
              <a:t> articles for every new article published</a:t>
            </a:r>
          </a:p>
          <a:p>
            <a:pPr marL="0" indent="0" defTabSz="966612" eaLnBrk="1" hangingPunct="1">
              <a:lnSpc>
                <a:spcPct val="100000"/>
              </a:lnSpc>
              <a:spcBef>
                <a:spcPts val="1903"/>
              </a:spcBef>
              <a:buClr>
                <a:srgbClr val="63666A"/>
              </a:buClr>
              <a:buSzPct val="100000"/>
              <a:buNone/>
              <a:defRPr/>
            </a:pPr>
            <a:r>
              <a:rPr lang="en-US" u="sng" kern="0">
                <a:solidFill>
                  <a:srgbClr val="1E22A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User Sentiment Indicators</a:t>
            </a:r>
            <a:r>
              <a:rPr lang="en-US" b="0" u="none">
                <a:solidFill>
                  <a:srgbClr val="1E22AA"/>
                </a:solidFill>
                <a:latin typeface="Arial"/>
                <a:ea typeface="Arial Unicode MS"/>
                <a:cs typeface="Arial"/>
              </a:rPr>
              <a:t> – elaborate on each metric a bit</a:t>
            </a:r>
            <a:endParaRPr lang="en-US" u="sng" kern="0">
              <a:solidFill>
                <a:srgbClr val="1E22AA"/>
              </a:solidFill>
              <a:latin typeface="Arial"/>
              <a:ea typeface="Arial Unicode MS"/>
              <a:cs typeface="Arial"/>
            </a:endParaRPr>
          </a:p>
          <a:p>
            <a:pPr marL="241653" indent="-241653" defTabSz="966612" eaLnBrk="1" hangingPunct="1">
              <a:lnSpc>
                <a:spcPct val="100000"/>
              </a:lnSpc>
              <a:spcBef>
                <a:spcPts val="1903"/>
              </a:spcBef>
              <a:buClr>
                <a:srgbClr val="63666A"/>
              </a:buClr>
              <a:buSzPct val="100000"/>
              <a:buFont typeface="Arial" pitchFamily="-65" charset="0"/>
              <a:buChar char="•"/>
              <a:defRPr/>
            </a:pPr>
            <a:r>
              <a:rPr lang="en-US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Overall portal experience: </a:t>
            </a:r>
            <a:r>
              <a:rPr lang="en-US" b="1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32%</a:t>
            </a:r>
            <a:r>
              <a:rPr lang="en-US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 positive to </a:t>
            </a:r>
            <a:r>
              <a:rPr lang="en-US" b="1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52%</a:t>
            </a:r>
            <a:r>
              <a:rPr lang="en-US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 positive response rate</a:t>
            </a:r>
            <a:endParaRPr lang="en-US" kern="0">
              <a:solidFill>
                <a:srgbClr val="63666A"/>
              </a:solidFill>
              <a:latin typeface="Arial"/>
              <a:ea typeface="Arial Unicode MS"/>
              <a:cs typeface="Arial"/>
            </a:endParaRPr>
          </a:p>
          <a:p>
            <a:pPr marL="241653" indent="-241653" defTabSz="966612" eaLnBrk="1" hangingPunct="1">
              <a:lnSpc>
                <a:spcPct val="100000"/>
              </a:lnSpc>
              <a:spcBef>
                <a:spcPts val="1903"/>
              </a:spcBef>
              <a:buClr>
                <a:srgbClr val="63666A"/>
              </a:buClr>
              <a:buSzPct val="100000"/>
              <a:buFont typeface="Arial" pitchFamily="-65" charset="0"/>
              <a:buChar char="•"/>
              <a:defRPr/>
            </a:pPr>
            <a:r>
              <a:rPr lang="en-US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Content ease of use: </a:t>
            </a:r>
            <a:r>
              <a:rPr lang="en-US" b="1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51%</a:t>
            </a:r>
            <a:r>
              <a:rPr lang="en-US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 positive to </a:t>
            </a:r>
            <a:r>
              <a:rPr lang="en-US" b="1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62%</a:t>
            </a:r>
            <a:r>
              <a:rPr lang="en-US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 positive response rate</a:t>
            </a:r>
            <a:endParaRPr lang="en-US" kern="0">
              <a:solidFill>
                <a:srgbClr val="63666A"/>
              </a:solidFill>
              <a:latin typeface="Arial"/>
              <a:ea typeface="Arial Unicode MS"/>
              <a:cs typeface="Arial"/>
            </a:endParaRPr>
          </a:p>
          <a:p>
            <a:pPr marL="241653" indent="-241653" defTabSz="966612" eaLnBrk="1" hangingPunct="1">
              <a:lnSpc>
                <a:spcPct val="100000"/>
              </a:lnSpc>
              <a:spcBef>
                <a:spcPts val="1903"/>
              </a:spcBef>
              <a:buClr>
                <a:srgbClr val="63666A"/>
              </a:buClr>
              <a:buSzPct val="100000"/>
              <a:buFont typeface="Arial" pitchFamily="-65" charset="0"/>
              <a:buChar char="•"/>
              <a:defRPr/>
            </a:pPr>
            <a:r>
              <a:rPr lang="en-US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Ease of navigation: </a:t>
            </a:r>
            <a:r>
              <a:rPr lang="en-US" b="1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48%</a:t>
            </a:r>
            <a:r>
              <a:rPr lang="en-US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 positive to </a:t>
            </a:r>
            <a:r>
              <a:rPr lang="en-US" b="1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62%</a:t>
            </a:r>
            <a:r>
              <a:rPr lang="en-US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 positive response rate</a:t>
            </a:r>
            <a:endParaRPr lang="en-US" kern="0">
              <a:solidFill>
                <a:srgbClr val="63666A"/>
              </a:solidFill>
              <a:latin typeface="Arial"/>
              <a:ea typeface="Arial Unicode MS"/>
              <a:cs typeface="Arial"/>
            </a:endParaRPr>
          </a:p>
          <a:p>
            <a:pPr marL="241653" indent="-241653" defTabSz="966612" eaLnBrk="1" hangingPunct="1">
              <a:lnSpc>
                <a:spcPct val="100000"/>
              </a:lnSpc>
              <a:spcBef>
                <a:spcPts val="1903"/>
              </a:spcBef>
              <a:buClr>
                <a:srgbClr val="63666A"/>
              </a:buClr>
              <a:buSzPct val="100000"/>
              <a:buFont typeface="Arial" pitchFamily="-65" charset="0"/>
              <a:buChar char="•"/>
              <a:defRPr/>
            </a:pPr>
            <a:r>
              <a:rPr lang="en-US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Look and feel: </a:t>
            </a:r>
            <a:r>
              <a:rPr lang="en-US" b="1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58%</a:t>
            </a:r>
            <a:r>
              <a:rPr lang="en-US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 positive to </a:t>
            </a:r>
            <a:r>
              <a:rPr lang="en-US" b="1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67%</a:t>
            </a:r>
            <a:r>
              <a:rPr lang="en-US" kern="0">
                <a:solidFill>
                  <a:srgbClr val="63666A"/>
                </a:solidFill>
                <a:latin typeface="Arial"/>
                <a:ea typeface="Arial Unicode MS"/>
                <a:cs typeface="Arial"/>
                <a:sym typeface="Arial" pitchFamily="-65" charset="0"/>
              </a:rPr>
              <a:t> positive response rate</a:t>
            </a:r>
            <a:endParaRPr lang="en-US">
              <a:ea typeface="Arial Unicode MS"/>
              <a:cs typeface="Arial"/>
            </a:endParaRPr>
          </a:p>
          <a:p>
            <a:pPr marL="0" indent="0" defTabSz="338314">
              <a:spcBef>
                <a:spcPts val="740"/>
              </a:spcBef>
              <a:buNone/>
              <a:defRPr/>
            </a:pPr>
            <a:r>
              <a:rPr lang="en-US" b="1">
                <a:latin typeface="Arial"/>
                <a:ea typeface="Arial Unicode MS"/>
                <a:cs typeface="Arial"/>
              </a:rPr>
              <a:t>Handoff to Jenn: Now I’ll hand it over to Jenn to talk through our Operation…(what and why does it matter?)</a:t>
            </a:r>
            <a:endParaRPr lang="en-US" b="1">
              <a:cs typeface="Arial"/>
            </a:endParaRP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b="1">
                <a:latin typeface="Arial"/>
                <a:ea typeface="Arial Unicode MS"/>
                <a:cs typeface="Arial"/>
              </a:rPr>
              <a:t>Prep Notes:</a:t>
            </a:r>
          </a:p>
          <a:p>
            <a:pPr marL="84579" indent="-84579"/>
            <a:r>
              <a:rPr lang="en-US">
                <a:latin typeface="Arial"/>
                <a:ea typeface="Arial Unicode MS"/>
                <a:cs typeface="Arial"/>
              </a:rPr>
              <a:t>…</a:t>
            </a:r>
          </a:p>
          <a:p>
            <a:pPr marL="0" indent="0">
              <a:buNone/>
            </a:pPr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1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36648A9-8E45-674F-A162-B39BDE90641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4433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1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B3E3CFC-6783-9849-B3AE-35618FEC9FE2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0950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65F860A-7F88-FB4B-A5B4-9ECE6315AE9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8884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 defTabSz="338314">
              <a:spcBef>
                <a:spcPts val="740"/>
              </a:spcBef>
              <a:buNone/>
              <a:defRPr/>
            </a:pPr>
            <a:endParaRPr lang="en-US" sz="1300" dirty="0">
              <a:ea typeface="Calibri" panose="020F0502020204030204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1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6757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36648A9-8E45-674F-A162-B39BDE90641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5628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36648A9-8E45-674F-A162-B39BDE90641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6590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71218">
              <a:defRPr/>
            </a:pP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defTabSz="571218">
              <a:defRPr/>
            </a:pPr>
            <a:fld id="{7BB09935-B772-2F4A-BF19-76C5D07ABE39}" type="datetime8">
              <a:rPr lang="en-US" sz="1400">
                <a:solidFill>
                  <a:prstClr val="black"/>
                </a:solidFill>
              </a:rPr>
              <a:pPr defTabSz="571218">
                <a:defRPr/>
              </a:pPr>
              <a:t>1/13/2023 7:57 AM</a:t>
            </a:fld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71218">
              <a:defRPr/>
            </a:pP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71218">
              <a:defRPr/>
            </a:pPr>
            <a:fld id="{B976D8D5-0ECD-3A4D-8E63-E16D685F0695}" type="slidenum">
              <a:rPr lang="en-US" sz="1400">
                <a:solidFill>
                  <a:prstClr val="black"/>
                </a:solidFill>
              </a:rPr>
              <a:pPr defTabSz="571218">
                <a:defRPr/>
              </a:pPr>
              <a:t>17</a:t>
            </a:fld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8374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1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36648A9-8E45-674F-A162-B39BDE90641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4012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36648A9-8E45-674F-A162-B39BDE90641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2800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976D8D5-0ECD-3A4D-8E63-E16D685F069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C08CC47-6712-B544-860C-B67BB27DCDA4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8459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2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36648A9-8E45-674F-A162-B39BDE90641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2844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2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65F860A-7F88-FB4B-A5B4-9ECE6315AE91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4872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0B7939-FDBE-AF44-85B5-8F2F09CD2EF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2186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976D8D5-0ECD-3A4D-8E63-E16D685F0695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7554D57-A1E5-014C-906E-8D0BEEEE4F2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380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300">
              <a:latin typeface="+mn-lt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804038">
              <a:defRPr/>
            </a:pPr>
            <a:r>
              <a:rPr lang="en-US">
                <a:solidFill>
                  <a:prstClr val="black"/>
                </a:solidFill>
                <a:ea typeface="+mn-ea"/>
                <a:cs typeface="+mn-cs"/>
              </a:rPr>
              <a:t>ASM 2011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defTabSz="804038">
              <a:defRPr/>
            </a:pPr>
            <a:fld id="{DC58D987-5313-C346-88C2-8880848D1C94}" type="datetime8">
              <a:rPr lang="en-US">
                <a:solidFill>
                  <a:prstClr val="black"/>
                </a:solidFill>
                <a:ea typeface="+mn-ea"/>
                <a:cs typeface="+mn-cs"/>
              </a:rPr>
              <a:pPr defTabSz="804038">
                <a:defRPr/>
              </a:pPr>
              <a:t>1/13/2023 7:56 AM</a:t>
            </a:fld>
            <a:endParaRPr lang="en-US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804038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  <a:ea typeface="+mn-ea"/>
                <a:cs typeface="+mn-cs"/>
              </a:rPr>
              <a:pPr defTabSz="804038">
                <a:defRPr/>
              </a:pPr>
              <a:t>3</a:t>
            </a:fld>
            <a:endParaRPr lang="en-US">
              <a:solidFill>
                <a:prstClr val="black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03586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4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BB3C289-A2AD-894F-967A-E002575478F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307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976D8D5-0ECD-3A4D-8E63-E16D685F0695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1E87540-3144-8249-804A-1D1174F85A9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491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B3E3CFC-6783-9849-B3AE-35618FEC9FE2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0060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36648A9-8E45-674F-A162-B39BDE90641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442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16805B0-E6B0-B14C-8A3F-BD62CBAEA7D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4984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338314">
              <a:spcBef>
                <a:spcPts val="740"/>
              </a:spcBef>
              <a:buNone/>
              <a:defRPr/>
            </a:pPr>
            <a:r>
              <a:rPr lang="en-US" b="1">
                <a:latin typeface="Arial"/>
                <a:ea typeface="Arial Unicode MS"/>
                <a:cs typeface="Arial"/>
              </a:rPr>
              <a:t>Who: Jazz; Time: 1.5mins</a:t>
            </a:r>
          </a:p>
          <a:p>
            <a:pPr marL="0" indent="0">
              <a:buNone/>
            </a:pPr>
            <a:r>
              <a:rPr lang="en-US" b="1"/>
              <a:t>Slide/Talking Notes:</a:t>
            </a:r>
          </a:p>
          <a:p>
            <a:pPr marL="84579" indent="-84579"/>
            <a:r>
              <a:rPr lang="en-US" kern="0">
                <a:solidFill>
                  <a:srgbClr val="595959"/>
                </a:solidFill>
                <a:latin typeface="Arial"/>
                <a:sym typeface="Arial" pitchFamily="-65" charset="0"/>
              </a:rPr>
              <a:t>Brief introduction to our team’s journey and then an overview of each stage of our transformation</a:t>
            </a:r>
          </a:p>
          <a:p>
            <a:pPr marL="422893" lvl="1" indent="-84579"/>
            <a:r>
              <a:rPr lang="en-US" kern="0">
                <a:solidFill>
                  <a:srgbClr val="595959"/>
                </a:solidFill>
                <a:latin typeface="Arial"/>
                <a:sym typeface="Arial" pitchFamily="-65" charset="0"/>
              </a:rPr>
              <a:t>Team Transformation – post-re-org forming and branding…</a:t>
            </a:r>
          </a:p>
          <a:p>
            <a:pPr marL="422893" lvl="1" indent="-84579"/>
            <a:r>
              <a:rPr lang="en-US" kern="0">
                <a:solidFill>
                  <a:srgbClr val="595959"/>
                </a:solidFill>
                <a:latin typeface="Arial"/>
                <a:sym typeface="Arial" pitchFamily="-65" charset="0"/>
              </a:rPr>
              <a:t>Content Strategy Modernization – Assessment, Strategy, and Hominization…</a:t>
            </a:r>
          </a:p>
          <a:p>
            <a:pPr marL="422893" lvl="1" indent="-84579"/>
            <a:r>
              <a:rPr lang="en-US" kern="0">
                <a:solidFill>
                  <a:srgbClr val="595959"/>
                </a:solidFill>
                <a:latin typeface="Arial"/>
                <a:sym typeface="Arial" pitchFamily="-65" charset="0"/>
              </a:rPr>
              <a:t>Content Transformation – The journey from transactional to transformational content creation, governance, and standards…</a:t>
            </a:r>
          </a:p>
          <a:p>
            <a:pPr marL="422893" lvl="1" indent="-84579"/>
            <a:r>
              <a:rPr lang="en-US" kern="0">
                <a:solidFill>
                  <a:srgbClr val="595959"/>
                </a:solidFill>
                <a:latin typeface="Arial"/>
                <a:sym typeface="Arial" pitchFamily="-65" charset="0"/>
              </a:rPr>
              <a:t>Conversational Content – Improving comprehension, retention, and becoming end-user advocates through conversational design and better information flow…</a:t>
            </a:r>
          </a:p>
          <a:p>
            <a:pPr marL="0" indent="0" defTabSz="338314">
              <a:spcBef>
                <a:spcPts val="740"/>
              </a:spcBef>
              <a:buNone/>
              <a:defRPr/>
            </a:pPr>
            <a:r>
              <a:rPr lang="en-US" b="1" strike="sngStrike">
                <a:latin typeface="Arial"/>
                <a:ea typeface="Arial Unicode MS"/>
                <a:cs typeface="Arial"/>
              </a:rPr>
              <a:t>Handoff to XXX: XXX </a:t>
            </a:r>
            <a:endParaRPr lang="en-US" b="1" strike="sngStrike">
              <a:cs typeface="Arial"/>
            </a:endParaRP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b="1"/>
              <a:t>Prep Notes:</a:t>
            </a:r>
          </a:p>
          <a:p>
            <a:pPr marL="84579" indent="-84579"/>
            <a:r>
              <a:rPr lang="en-US" b="1"/>
              <a:t>Feel free to continue working on this slide, visually (maybe larger text?) or leave as-is and I’ll add animation</a:t>
            </a:r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540363">
              <a:defRPr/>
            </a:pPr>
            <a:fld id="{B976D8D5-0ECD-3A4D-8E63-E16D685F0695}" type="slidenum">
              <a:rPr lang="en-US">
                <a:solidFill>
                  <a:prstClr val="black"/>
                </a:solidFill>
              </a:rPr>
              <a:pPr defTabSz="540363">
                <a:defRPr/>
              </a:pPr>
              <a:t>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36648A9-8E45-674F-A162-B39BDE90641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defTabSz="540363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071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7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9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0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7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9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0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4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6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7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0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4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6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7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9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0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7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9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0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2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3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7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9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0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3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4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5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6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7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8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9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0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3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4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5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6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9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0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1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6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9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0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1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2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3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4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5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6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7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8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9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0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2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3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4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5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6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9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0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3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4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5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6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7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9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0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420977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367251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drawing of a face&#10;&#10;Description automatically generated">
            <a:extLst>
              <a:ext uri="{FF2B5EF4-FFF2-40B4-BE49-F238E27FC236}">
                <a16:creationId xmlns:a16="http://schemas.microsoft.com/office/drawing/2014/main" id="{1C9425F2-2046-456D-9DFB-F05E991B1E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728" y="5639767"/>
            <a:ext cx="2968156" cy="926001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79EA6ED1-A2B2-43FF-B4A8-651685E8F2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4ABC5773-4523-4921-89C9-CC89919286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C8F46-B352-4510-97D0-BE486D8D81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9F6AB7-D22C-40D5-BF0E-EE8000C5BF4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CFC7D71-9B07-42C1-9728-35E0E94E8FC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B6203159-F37F-48BC-BD51-5BFE655249E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38918" y="1713180"/>
            <a:ext cx="724348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6813209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FA5E5E89-9046-4B92-81F8-9FE18634F9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DFA1F13-D00D-4129-B06E-EC06EA440B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5035C5-22EB-4249-A65B-DF6162518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0868CF-4AEC-4320-B897-E2C930BE17E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F7DBC7AF-8BED-44DE-9C7F-512660417EE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4AEBAA0A-9D44-4D9C-B711-B7FECFEEAA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8744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0104610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51308F76-0F94-4162-90ED-49AB65EEC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EF6C625-7DFB-4BC9-8909-7AFEFE6B8D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BE2662-2467-4E27-B0DA-15E2AAC884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03843-1005-4A82-8512-DCCA81735EF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59F098F2-E403-43AF-85C3-42BF610FEBB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080248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5EE6BD3F-0350-4B57-82B2-CDCBC465804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09600" y="1713180"/>
            <a:ext cx="724348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1611348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39D5B29B-D593-414D-9905-2654EE1F88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508706A0-D22F-4B03-AD09-292FF11265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F3EB15A-5BC3-4367-BB21-CCA11C75362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3250" y="1406632"/>
            <a:ext cx="5143500" cy="371157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D7D64E5-E39C-492B-9373-C950F64EBD4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43186" y="1406633"/>
            <a:ext cx="5143500" cy="361745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26E0646-0EC1-4A19-8A27-410C2E58923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251" y="1826717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995C9AD-54B7-4111-ABEA-B510643D6D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43186" y="1826717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B356183-1EB8-4EF2-B0BB-F990BD15DF7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43186" y="3110085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20B8A66-6880-43D3-8122-B6ACEB66A0D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03251" y="3110085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BA18470-B9C2-464B-B53B-54F7DDBB8A0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3250" y="2589737"/>
            <a:ext cx="5143500" cy="519636"/>
          </a:xfrm>
        </p:spPr>
        <p:txBody>
          <a:bodyPr/>
          <a:lstStyle>
            <a:lvl1pPr marL="0" indent="0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D8B1B4F8-FD1B-44C6-AD8B-3D13385247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445250" y="2589737"/>
            <a:ext cx="5143500" cy="519636"/>
          </a:xfrm>
        </p:spPr>
        <p:txBody>
          <a:bodyPr/>
          <a:lstStyle>
            <a:lvl1pPr marL="0" indent="0">
              <a:buNone/>
              <a:defRPr sz="3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67E46BF-FF09-469A-BC1B-948A6FDBEA9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7503" y="3956568"/>
            <a:ext cx="2137868" cy="398488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0EF7A047-DC61-43FF-8686-C213B567E47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465434" y="3956568"/>
            <a:ext cx="2116967" cy="398488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269DF5D-3FA3-4059-973F-3FE193DE0E4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465435" y="4482056"/>
            <a:ext cx="2116966" cy="1168195"/>
          </a:xfrm>
        </p:spPr>
        <p:txBody>
          <a:bodyPr/>
          <a:lstStyle>
            <a:lvl1pPr marL="198112" indent="-198112">
              <a:spcBef>
                <a:spcPts val="800"/>
              </a:spcBef>
              <a:buFont typeface="Arial" panose="020B0604020202020204" pitchFamily="34" charset="0"/>
              <a:buChar char="•"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F35EC680-5173-4D51-9F43-B5ABF0130B9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17503" y="4482056"/>
            <a:ext cx="2137867" cy="1168195"/>
          </a:xfrm>
        </p:spPr>
        <p:txBody>
          <a:bodyPr/>
          <a:lstStyle>
            <a:lvl1pPr marL="198112" indent="-198112">
              <a:spcBef>
                <a:spcPts val="800"/>
              </a:spcBef>
              <a:buFont typeface="Arial" panose="020B0604020202020204" pitchFamily="34" charset="0"/>
              <a:buChar char="•"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DAFBC1F-1BD0-47A1-A67C-290314D3F66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829943" y="4482056"/>
            <a:ext cx="1438975" cy="116819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E857EBA-E4D8-4A75-B09D-1678C7F7EB3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29945" y="3898709"/>
            <a:ext cx="1438974" cy="519636"/>
          </a:xfrm>
        </p:spPr>
        <p:txBody>
          <a:bodyPr/>
          <a:lstStyle>
            <a:lvl1pPr marL="0" indent="0">
              <a:buNone/>
              <a:defRPr sz="3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A708712-0D12-46A2-AA01-0ACC7D63330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133681" y="4482056"/>
            <a:ext cx="1412289" cy="116819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3C77796-ADDC-42C7-9A84-710C309664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133683" y="3898709"/>
            <a:ext cx="1412288" cy="519636"/>
          </a:xfrm>
        </p:spPr>
        <p:txBody>
          <a:bodyPr/>
          <a:lstStyle>
            <a:lvl1pPr marL="0" indent="0">
              <a:buNone/>
              <a:defRPr sz="366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418D3A5-77FA-4FE7-AF20-8ED6E4986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DCF1C3-A10F-4592-BC63-5F5FCD2A7480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2400862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4BE6475-7D45-4EB4-9A82-F07E160458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5836718-9BE9-4DF7-BFF0-67B38F0C2F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FB29F8-F766-4EEA-AF0A-8D7125B1D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BDBF51-BDD9-47D4-9794-DE9814A353B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A5E8EF69-874A-4E0D-AD1E-091E247D885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47EF838-90C8-498B-BDB5-00F7E3918A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44924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1BDA823C-A7CA-4268-A35C-1C4D5D386E2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080248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7659507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olumns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C2BFE4F-52EC-EA4C-8174-6D0AB121C043}"/>
              </a:ext>
            </a:extLst>
          </p:cNvPr>
          <p:cNvSpPr/>
          <p:nvPr userDrawn="1"/>
        </p:nvSpPr>
        <p:spPr bwMode="auto">
          <a:xfrm>
            <a:off x="577659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129C99D-1F64-7E4F-B8C3-B8B45961F027}"/>
              </a:ext>
            </a:extLst>
          </p:cNvPr>
          <p:cNvSpPr/>
          <p:nvPr userDrawn="1"/>
        </p:nvSpPr>
        <p:spPr bwMode="auto">
          <a:xfrm>
            <a:off x="4349566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B694DC-BD9A-A442-9ACD-4F245C97A9FC}"/>
              </a:ext>
            </a:extLst>
          </p:cNvPr>
          <p:cNvSpPr/>
          <p:nvPr userDrawn="1"/>
        </p:nvSpPr>
        <p:spPr bwMode="auto">
          <a:xfrm>
            <a:off x="8102409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CDC70B-08BA-B44B-8C3E-30BE82F98C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08756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DE90F85-A45B-EB4F-885E-BDA161417B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8452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81FD44C-15D5-4E4E-9A40-D4A5205C1D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9047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1D6CA6-DC3E-9040-8CD5-3433B67B4B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9047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60DC261-35D6-E54B-AA97-58927CE6AF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78452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74439E9-4AE9-914D-B1E8-BB781BAEC99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8756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DAFC3A3-49BC-48B6-994B-13C419EE35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4630112-4D3B-4327-AFEF-69A672DE5E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1AAEAE-89AB-410F-B047-51B7B897E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2A7E4-4B92-4774-AD3F-A153E94D600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4722409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2341D-678F-0543-BC1F-DAF878E5E6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" y="3883026"/>
            <a:ext cx="3505200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D9755F0-C41E-2B45-9AED-E932B414A0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53736" y="3883026"/>
            <a:ext cx="3513667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29C5B03-CACE-A542-91AC-BA0C8C0200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77201" y="3883026"/>
            <a:ext cx="3505199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FE7F73C9-3F48-455D-BFC8-C12C2A65E4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3BD1F65-AD45-4791-98F4-368824440B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F42EE2-082F-4851-A3A4-5F91F7642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5BD6E0-A478-4558-BA34-89E7ADD65AC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05E081D3-F617-4754-91D1-0F2E123DA75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09599" y="1713180"/>
            <a:ext cx="3502152" cy="2029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C6E1660A-D1C9-4932-8728-14A2890934C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344924" y="1713180"/>
            <a:ext cx="3502152" cy="2029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B347574D-1A5A-4A37-8968-553E8EFD3C8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080248" y="1713180"/>
            <a:ext cx="3502152" cy="2029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8707409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olumns 1x3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4349193" y="1570154"/>
            <a:ext cx="3493057" cy="414422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606035" y="1570154"/>
            <a:ext cx="3510883" cy="414422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74527" y="1569984"/>
            <a:ext cx="3510883" cy="415175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303B4520-2D4F-4A32-9620-E39F9D8317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DDC5C370-387B-4E4A-8091-666F1171BA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556A56-88DF-4BD5-9EC5-D8DDC38FA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FB3D86-567F-4B85-BBBC-38136C9BDAE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EB49C11D-D2B9-4750-B362-440439336BA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9599" y="2136912"/>
            <a:ext cx="3502152" cy="37825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DC67EEFC-7974-489E-B530-DF12A47D36E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44924" y="2136912"/>
            <a:ext cx="3502152" cy="37825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A402F6B-DC35-43F1-A608-7D25A4EECA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080248" y="2136912"/>
            <a:ext cx="3502152" cy="37825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9108105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2C2B95-F1C7-464B-AB21-EB73C1EE9B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B8961680-1199-41F6-9E55-884BD67648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72800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95566D2-55E9-4018-95A0-B86821206B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72800" cy="230832"/>
          </a:xfr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4185458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3" y="0"/>
            <a:ext cx="1219200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260E95-878A-4B35-BD39-8D05DCD289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72800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4819CDBF-C301-485C-AA5A-C96D10B026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72800" cy="23083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AE0943-49E5-4B67-995B-D2294CDFFC3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402715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692008522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83439"/>
            <a:ext cx="10981267" cy="1538883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8724485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83439"/>
            <a:ext cx="10981267" cy="1538883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7586905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70615"/>
            <a:ext cx="10981267" cy="1564531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3589503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J&amp;J Signature">
    <p:bg>
      <p:bgPr>
        <a:solidFill>
          <a:srgbClr val="F4F4F4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rawing of a face&#10;&#10;Description automatically generated">
            <a:extLst>
              <a:ext uri="{FF2B5EF4-FFF2-40B4-BE49-F238E27FC236}">
                <a16:creationId xmlns:a16="http://schemas.microsoft.com/office/drawing/2014/main" id="{FBE919E6-FF29-4491-98C5-FC6D748A07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51732" y="2752187"/>
            <a:ext cx="4288536" cy="13379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42642788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5770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6635" y="63329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EEF158-6529-4A79-AC74-5B2063027C16}"/>
              </a:ext>
            </a:extLst>
          </p:cNvPr>
          <p:cNvSpPr/>
          <p:nvPr userDrawn="1"/>
        </p:nvSpPr>
        <p:spPr>
          <a:xfrm>
            <a:off x="2036919" y="6416977"/>
            <a:ext cx="81181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Confidential—For Discussion Purposes Only:  The information contained herein is for discussion only and does not reflect any final decisions</a:t>
            </a:r>
          </a:p>
        </p:txBody>
      </p:sp>
    </p:spTree>
    <p:extLst>
      <p:ext uri="{BB962C8B-B14F-4D97-AF65-F5344CB8AC3E}">
        <p14:creationId xmlns:p14="http://schemas.microsoft.com/office/powerpoint/2010/main" val="6927066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1"/>
          <p:cNvSpPr>
            <a:spLocks noGrp="1"/>
          </p:cNvSpPr>
          <p:nvPr>
            <p:ph sz="quarter" idx="15"/>
          </p:nvPr>
        </p:nvSpPr>
        <p:spPr>
          <a:xfrm>
            <a:off x="601601" y="1713178"/>
            <a:ext cx="10985780" cy="4169411"/>
          </a:xfrm>
        </p:spPr>
        <p:txBody>
          <a:bodyPr/>
          <a:lstStyle>
            <a:lvl1pPr marL="0" marR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/>
            </a:lvl1pPr>
          </a:lstStyle>
          <a:p>
            <a:pPr marL="0" marR="0" lvl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marL="0" marR="0" lvl="1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marL="0" marR="0" lvl="2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marL="0" marR="0" lvl="3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marL="0" marR="0" lvl="4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8780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9CB053C-917F-3442-95E2-DB922C9FB8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46985" y="6407470"/>
            <a:ext cx="4853049" cy="257257"/>
          </a:xfrm>
        </p:spPr>
        <p:txBody>
          <a:bodyPr/>
          <a:lstStyle>
            <a:lvl1pPr marL="0" indent="0" algn="r">
              <a:buNone/>
              <a:defRPr sz="750" b="1"/>
            </a:lvl1pPr>
          </a:lstStyle>
          <a:p>
            <a:pPr lvl="0"/>
            <a:r>
              <a:rPr lang="en-US"/>
              <a:t>OPTIONAL FUNCTION NAM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583EDC4-237D-9841-A7A3-2E3EB25AA9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C8102E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4657BC-2BC6-344D-BA73-33733418FC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6466094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52" indent="0">
              <a:buNone/>
              <a:defRPr sz="1000"/>
            </a:lvl2pPr>
            <a:lvl3pPr marL="530309" indent="0">
              <a:buNone/>
              <a:defRPr sz="1000"/>
            </a:lvl3pPr>
            <a:lvl4pPr marL="896040" indent="0">
              <a:buNone/>
              <a:defRPr sz="1000"/>
            </a:lvl4pPr>
            <a:lvl5pPr marL="1296725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6635" y="63329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117276"/>
      </p:ext>
    </p:extLst>
  </p:cSld>
  <p:clrMapOvr>
    <a:masterClrMapping/>
  </p:clrMapOvr>
  <p:transition>
    <p:fade/>
  </p:transition>
  <p:hf hdr="0" ft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420977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367251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 descr="A drawing of a face&#10;&#10;Description automatically generated">
            <a:extLst>
              <a:ext uri="{FF2B5EF4-FFF2-40B4-BE49-F238E27FC236}">
                <a16:creationId xmlns:a16="http://schemas.microsoft.com/office/drawing/2014/main" id="{1C9425F2-2046-456D-9DFB-F05E991B1E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729" y="5639768"/>
            <a:ext cx="2968156" cy="9260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20764084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2096843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09431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DFA5EDDA-BF57-4125-AB01-FDB2E9015D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841" y="299330"/>
            <a:ext cx="2960641" cy="9236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7763348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420977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233565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 descr="A drawing of a face&#10;&#10;Description automatically generated">
            <a:extLst>
              <a:ext uri="{FF2B5EF4-FFF2-40B4-BE49-F238E27FC236}">
                <a16:creationId xmlns:a16="http://schemas.microsoft.com/office/drawing/2014/main" id="{23B9D920-FD38-49A9-A9C2-1FD070652D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729" y="5639768"/>
            <a:ext cx="2968156" cy="9260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4483536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93E8CB-0D3D-4731-9E50-5EB436EA83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65330B4-3113-4E4F-A7F6-866902B83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1728646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20288849-2F28-49AE-956D-7E14567556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8706" y="6160294"/>
            <a:ext cx="1528000" cy="4767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8798062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5DCDCEEB-38B4-4C29-B98F-E24FBE9CCA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8706" y="6160294"/>
            <a:ext cx="1528000" cy="4767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01114386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37C8E1B-F248-4942-BD37-363EAF708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425412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8420195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9755943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6119544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450290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7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614289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064E82B0-63D5-4446-B657-1E110C3A1E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3AE501B-FE48-4C9F-83B5-7617A1D2B0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ACCF9F-8C09-4CF5-898D-112226216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6C2ECB-A4FE-4288-8FCC-BBE730F1B3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E7F6632-A536-4E61-832D-097A4041BD3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064E82B0-63D5-4446-B657-1E110C3A1E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3AE501B-FE48-4C9F-83B5-7617A1D2B0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ACCF9F-8C09-4CF5-898D-112226216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6C2ECB-A4FE-4288-8FCC-BBE730F1B3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E7F6632-A536-4E61-832D-097A4041BD3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10128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60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44FCF432-50A2-487A-B0C0-6F1BA6AC3D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F607CD07-7B46-4181-B8BB-0F88AD8441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550AF9-85EE-431B-BD54-F1FC8C6D4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60B6D8-A902-42D8-AB46-12D035F9250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023ADA1-AE77-4E30-9860-A25034135C4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2633117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mul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60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077EFA6-7B6E-4002-B4D7-A567FD19B7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A9C12F27-8917-4A91-BF2E-0F768AA466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1EC1A14-743D-4EE0-A878-60807D3B44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" y="1948213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38524962-5303-462F-AFF4-6DD4D159CB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91237" y="1945661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A29742B1-CD48-4F91-AFDF-D371A06C7AB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72874" y="1952041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147CD88C-B619-41B1-A824-C7444ACE32F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54510" y="1961446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62F96FA4-7CD5-434D-A000-4FC32EC3392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3891866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BBEE7ABE-77AD-4A40-ADED-D83B23F64A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91237" y="3889314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370C06F7-5603-41E6-8BD9-06EDA6C6022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72874" y="3895694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A2C71AB9-038D-4843-9665-137E2D47BE4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954510" y="3905099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FCFA94-6B37-49F1-850E-3358476DE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20CB62-9910-41B7-AE83-DF549EE6D6E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7357183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204A8E30-F23D-42B8-A4DA-D1BBA6FD94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465709A-5A40-4FAB-8DB6-A62697FBB41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E59732-053F-4710-A1A5-3FB81948A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15143D-07D7-4953-9034-85742E3783E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A7341B4C-7F27-49E4-ABF9-B6FED1C3E5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2890118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60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2047CBD-D301-4AE3-8F98-0EA15F78F2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3C15858-F7D2-448E-AC37-B9D644F6BD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B689D7-D8FA-4F51-9AA0-F53B86123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08C8B9-19E9-48BB-B9CB-00227891D9C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DDC31D03-1592-4FFD-A8B8-E8D0941E316B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9987181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header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3178"/>
            <a:ext cx="10972800" cy="390428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500" b="1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681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ACA0BD-B0B0-4B3D-A82B-962E37E018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7AF03CF5-4739-4CC7-AEE2-0B9F7454F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7F2A2F-0AA0-4515-934D-5D4BC9381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E1354D-3E5E-4E4A-9CA0-60C3AEE5C72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1520DDBA-6507-43D9-B5D6-89F38C956D5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2266122"/>
            <a:ext cx="10972800" cy="365329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7931792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ha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3178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000" dirty="0" smtClean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60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0D44E905-D953-44B5-95C2-B51A3DED58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50D3E58-915E-457E-AED4-0288379A0A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D55E13-02BE-4E33-B183-388B58486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9B263-0D8F-40A0-A832-EF1BE0984DB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3885030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0625BE61-50D8-43AF-8D14-0DB45BF446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504591F-D3FF-43BE-BDD3-44D31344A5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FD6D03-C1C3-4357-B38C-ACA608B37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1E908F-6C9E-4AA3-9F59-8ED5F603DA5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38527A99-8CC5-4235-BC4F-5ABE0627F2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2621891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60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A35A36AF-A0BE-4FF5-9657-877C1CB654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B79D711-EF61-4011-9FA6-6FDB01FB16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A52491-CA22-4328-97AB-8EE9D2FAF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3778AE-4C3E-40AD-9573-E0858D43120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FD50DC96-D21B-4D16-93D7-9A8D148BBEC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539496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694F8BE6-6407-4DDB-837A-578478BA1F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87440" y="1713180"/>
            <a:ext cx="539496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2853278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60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F9BD39F-1674-4BF0-8749-712E731C62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A105EBD-351D-4505-98DB-920A7CDF30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CE3E10-278E-41E3-B8A0-C73ADA2C2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1A62B7-E758-4594-B5E7-6F001A3CB10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323909A-81C3-4277-9039-921D923903B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AAF54C2-8FC0-4DD0-9AA2-8C9B0214D6D5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38918" y="1713180"/>
            <a:ext cx="724348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212189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44FCF432-50A2-487A-B0C0-6F1BA6AC3D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F607CD07-7B46-4181-B8BB-0F88AD8441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550AF9-85EE-431B-BD54-F1FC8C6D4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60B6D8-A902-42D8-AB46-12D035F9250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023ADA1-AE77-4E30-9860-A25034135C4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60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79EA6ED1-A2B2-43FF-B4A8-651685E8F2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4ABC5773-4523-4921-89C9-CC89919286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C8F46-B352-4510-97D0-BE486D8D81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9F6AB7-D22C-40D5-BF0E-EE8000C5BF4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CFC7D71-9B07-42C1-9728-35E0E94E8FC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B6203159-F37F-48BC-BD51-5BFE655249E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38918" y="1713180"/>
            <a:ext cx="724348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6598942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60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FA5E5E89-9046-4B92-81F8-9FE18634F9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DFA1F13-D00D-4129-B06E-EC06EA440B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5035C5-22EB-4249-A65B-DF6162518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0868CF-4AEC-4320-B897-E2C930BE17E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F7DBC7AF-8BED-44DE-9C7F-512660417EE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539496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4AEBAA0A-9D44-4D9C-B711-B7FECFEEAA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87440" y="1713180"/>
            <a:ext cx="539496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4404915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60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51308F76-0F94-4162-90ED-49AB65EEC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EF6C625-7DFB-4BC9-8909-7AFEFE6B8D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BE2662-2467-4E27-B0DA-15E2AAC884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03843-1005-4A82-8512-DCCA81735EF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59F098F2-E403-43AF-85C3-42BF610FEBB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080248" y="1713180"/>
            <a:ext cx="350215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5EE6BD3F-0350-4B57-82B2-CDCBC465804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09600" y="1713180"/>
            <a:ext cx="724348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9300069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39D5B29B-D593-414D-9905-2654EE1F88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508706A0-D22F-4B03-AD09-292FF11265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F3EB15A-5BC3-4367-BB21-CCA11C75362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3250" y="1406632"/>
            <a:ext cx="5143500" cy="371157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D7D64E5-E39C-492B-9373-C950F64EBD4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43186" y="1406633"/>
            <a:ext cx="5143500" cy="361745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26E0646-0EC1-4A19-8A27-410C2E58923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251" y="1826717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995C9AD-54B7-4111-ABEA-B510643D6D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43186" y="1826717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B356183-1EB8-4EF2-B0BB-F990BD15DF7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43186" y="3110086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20B8A66-6880-43D3-8122-B6ACEB66A0D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03251" y="3110086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BA18470-B9C2-464B-B53B-54F7DDBB8A0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3250" y="2589738"/>
            <a:ext cx="5143500" cy="519636"/>
          </a:xfrm>
        </p:spPr>
        <p:txBody>
          <a:bodyPr/>
          <a:lstStyle>
            <a:lvl1pPr marL="0" indent="0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D8B1B4F8-FD1B-44C6-AD8B-3D13385247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445250" y="2589738"/>
            <a:ext cx="5143500" cy="519636"/>
          </a:xfrm>
        </p:spPr>
        <p:txBody>
          <a:bodyPr/>
          <a:lstStyle>
            <a:lvl1pPr marL="0" indent="0">
              <a:buNone/>
              <a:defRPr sz="3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67E46BF-FF09-469A-BC1B-948A6FDBEA9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7503" y="3956568"/>
            <a:ext cx="2137868" cy="398488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0EF7A047-DC61-43FF-8686-C213B567E47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465435" y="3956568"/>
            <a:ext cx="2116967" cy="398488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269DF5D-3FA3-4059-973F-3FE193DE0E4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465435" y="4482057"/>
            <a:ext cx="2116966" cy="1168195"/>
          </a:xfrm>
        </p:spPr>
        <p:txBody>
          <a:bodyPr/>
          <a:lstStyle>
            <a:lvl1pPr marL="198104" indent="-198104">
              <a:spcBef>
                <a:spcPts val="800"/>
              </a:spcBef>
              <a:buFont typeface="Arial" panose="020B0604020202020204" pitchFamily="34" charset="0"/>
              <a:buChar char="•"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F35EC680-5173-4D51-9F43-B5ABF0130B9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17503" y="4482057"/>
            <a:ext cx="2137867" cy="1168195"/>
          </a:xfrm>
        </p:spPr>
        <p:txBody>
          <a:bodyPr/>
          <a:lstStyle>
            <a:lvl1pPr marL="198104" indent="-198104">
              <a:spcBef>
                <a:spcPts val="800"/>
              </a:spcBef>
              <a:buFont typeface="Arial" panose="020B0604020202020204" pitchFamily="34" charset="0"/>
              <a:buChar char="•"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DAFBC1F-1BD0-47A1-A67C-290314D3F66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829943" y="4482057"/>
            <a:ext cx="1438975" cy="116819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E857EBA-E4D8-4A75-B09D-1678C7F7EB3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29946" y="3898709"/>
            <a:ext cx="1438974" cy="519636"/>
          </a:xfrm>
        </p:spPr>
        <p:txBody>
          <a:bodyPr/>
          <a:lstStyle>
            <a:lvl1pPr marL="0" indent="0">
              <a:buNone/>
              <a:defRPr sz="3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edit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A708712-0D12-46A2-AA01-0ACC7D63330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133682" y="4482057"/>
            <a:ext cx="1412289" cy="116819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3C77796-ADDC-42C7-9A84-710C309664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133683" y="3898709"/>
            <a:ext cx="1412288" cy="519636"/>
          </a:xfrm>
        </p:spPr>
        <p:txBody>
          <a:bodyPr/>
          <a:lstStyle>
            <a:lvl1pPr marL="0" indent="0">
              <a:buNone/>
              <a:defRPr sz="366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418D3A5-77FA-4FE7-AF20-8ED6E4986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DCF1C3-A10F-4592-BC63-5F5FCD2A7480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1516599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60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4BE6475-7D45-4EB4-9A82-F07E160458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5836718-9BE9-4DF7-BFF0-67B38F0C2F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FB29F8-F766-4EEA-AF0A-8D7125B1D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BDBF51-BDD9-47D4-9794-DE9814A353B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A5E8EF69-874A-4E0D-AD1E-091E247D885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47EF838-90C8-498B-BDB5-00F7E3918A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44924" y="1713180"/>
            <a:ext cx="350215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1BDA823C-A7CA-4268-A35C-1C4D5D386E2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080248" y="1713180"/>
            <a:ext cx="350215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2970085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olumns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C2BFE4F-52EC-EA4C-8174-6D0AB121C043}"/>
              </a:ext>
            </a:extLst>
          </p:cNvPr>
          <p:cNvSpPr/>
          <p:nvPr userDrawn="1"/>
        </p:nvSpPr>
        <p:spPr bwMode="auto">
          <a:xfrm>
            <a:off x="577659" y="1083014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129C99D-1F64-7E4F-B8C3-B8B45961F027}"/>
              </a:ext>
            </a:extLst>
          </p:cNvPr>
          <p:cNvSpPr/>
          <p:nvPr userDrawn="1"/>
        </p:nvSpPr>
        <p:spPr bwMode="auto">
          <a:xfrm>
            <a:off x="4349567" y="1083014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B694DC-BD9A-A442-9ACD-4F245C97A9FC}"/>
              </a:ext>
            </a:extLst>
          </p:cNvPr>
          <p:cNvSpPr/>
          <p:nvPr userDrawn="1"/>
        </p:nvSpPr>
        <p:spPr bwMode="auto">
          <a:xfrm>
            <a:off x="8102409" y="1083014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CDC70B-08BA-B44B-8C3E-30BE82F98C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08757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DE90F85-A45B-EB4F-885E-BDA161417B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8452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81FD44C-15D5-4E4E-9A40-D4A5205C1D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9047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1D6CA6-DC3E-9040-8CD5-3433B67B4B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9047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60DC261-35D6-E54B-AA97-58927CE6AF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78452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74439E9-4AE9-914D-B1E8-BB781BAEC99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8757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DAFC3A3-49BC-48B6-994B-13C419EE35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4630112-4D3B-4327-AFEF-69A672DE5E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1AAEAE-89AB-410F-B047-51B7B897E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2A7E4-4B92-4774-AD3F-A153E94D600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8703822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60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2341D-678F-0543-BC1F-DAF878E5E6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" y="3883027"/>
            <a:ext cx="3505200" cy="1971675"/>
          </a:xfrm>
        </p:spPr>
        <p:txBody>
          <a:bodyPr/>
          <a:lstStyle>
            <a:lvl1pPr marL="237735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30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D9755F0-C41E-2B45-9AED-E932B414A0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53737" y="3883027"/>
            <a:ext cx="3513667" cy="1971675"/>
          </a:xfrm>
        </p:spPr>
        <p:txBody>
          <a:bodyPr/>
          <a:lstStyle>
            <a:lvl1pPr marL="237735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30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29C5B03-CACE-A542-91AC-BA0C8C0200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77202" y="3883027"/>
            <a:ext cx="3505199" cy="1971675"/>
          </a:xfrm>
        </p:spPr>
        <p:txBody>
          <a:bodyPr/>
          <a:lstStyle>
            <a:lvl1pPr marL="237735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30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FE7F73C9-3F48-455D-BFC8-C12C2A65E4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3BD1F65-AD45-4791-98F4-368824440B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F42EE2-082F-4851-A3A4-5F91F7642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5BD6E0-A478-4558-BA34-89E7ADD65AC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05E081D3-F617-4754-91D1-0F2E123DA75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09599" y="1713180"/>
            <a:ext cx="3502152" cy="202996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C6E1660A-D1C9-4932-8728-14A2890934C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344924" y="1713180"/>
            <a:ext cx="3502152" cy="202996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B347574D-1A5A-4A37-8968-553E8EFD3C8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080248" y="1713180"/>
            <a:ext cx="3502152" cy="202996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5021123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olumns 1x3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60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4349193" y="1570154"/>
            <a:ext cx="3493057" cy="414422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217161" indent="0">
              <a:buNone/>
              <a:defRPr sz="1400"/>
            </a:lvl2pPr>
            <a:lvl3pPr marL="530330" indent="0">
              <a:buNone/>
              <a:defRPr sz="1400"/>
            </a:lvl3pPr>
            <a:lvl4pPr marL="896076" indent="0">
              <a:buNone/>
              <a:defRPr sz="1400"/>
            </a:lvl4pPr>
            <a:lvl5pPr marL="1296777" indent="0">
              <a:buNone/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606035" y="1570154"/>
            <a:ext cx="3510883" cy="414422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17161" indent="0">
              <a:buNone/>
              <a:defRPr sz="1400"/>
            </a:lvl2pPr>
            <a:lvl3pPr marL="530330" indent="0">
              <a:buNone/>
              <a:defRPr sz="1400"/>
            </a:lvl3pPr>
            <a:lvl4pPr marL="896076" indent="0">
              <a:buNone/>
              <a:defRPr sz="1400"/>
            </a:lvl4pPr>
            <a:lvl5pPr marL="1296777" indent="0">
              <a:buNone/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74528" y="1569984"/>
            <a:ext cx="3510883" cy="415175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217161" indent="0">
              <a:buNone/>
              <a:defRPr sz="1400"/>
            </a:lvl2pPr>
            <a:lvl3pPr marL="530330" indent="0">
              <a:buNone/>
              <a:defRPr sz="1400"/>
            </a:lvl3pPr>
            <a:lvl4pPr marL="896076" indent="0">
              <a:buNone/>
              <a:defRPr sz="1400"/>
            </a:lvl4pPr>
            <a:lvl5pPr marL="1296777" indent="0">
              <a:buNone/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303B4520-2D4F-4A32-9620-E39F9D8317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DDC5C370-387B-4E4A-8091-666F1171BA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556A56-88DF-4BD5-9EC5-D8DDC38FA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FB3D86-567F-4B85-BBBC-38136C9BDAE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EB49C11D-D2B9-4750-B362-440439336BA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9599" y="2136912"/>
            <a:ext cx="3502152" cy="378250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DC67EEFC-7974-489E-B530-DF12A47D36E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44924" y="2136912"/>
            <a:ext cx="3502152" cy="378250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A402F6B-DC35-43F1-A608-7D25A4EECA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080248" y="2136912"/>
            <a:ext cx="3502152" cy="378250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1850845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ull Bleed Image</a:t>
            </a:r>
          </a:p>
          <a:p>
            <a:endParaRPr lang="en-US" dirty="0"/>
          </a:p>
          <a:p>
            <a:r>
              <a:rPr lang="en-US" dirty="0"/>
              <a:t>No Cop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2C2B95-F1C7-464B-AB21-EB73C1EE9B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B8961680-1199-41F6-9E55-884BD67648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72800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95566D2-55E9-4018-95A0-B86821206B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72800" cy="230832"/>
          </a:xfr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6788805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3" y="0"/>
            <a:ext cx="1219200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ull Bleed Image</a:t>
            </a:r>
          </a:p>
          <a:p>
            <a:endParaRPr lang="en-US" dirty="0"/>
          </a:p>
          <a:p>
            <a:r>
              <a:rPr lang="en-US" dirty="0"/>
              <a:t>No Cop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260E95-878A-4B35-BD39-8D05DCD289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72800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4819CDBF-C301-485C-AA5A-C96D10B026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72800" cy="23083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AE0943-49E5-4B67-995B-D2294CDFFC3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952662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mul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077EFA6-7B6E-4002-B4D7-A567FD19B7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A9C12F27-8917-4A91-BF2E-0F768AA466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1EC1A14-743D-4EE0-A878-60807D3B44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" y="1948212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38524962-5303-462F-AFF4-6DD4D159CB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91237" y="1945660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A29742B1-CD48-4F91-AFDF-D371A06C7AB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72874" y="1952040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147CD88C-B619-41B1-A824-C7444ACE32F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54510" y="1961445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62F96FA4-7CD5-434D-A000-4FC32EC3392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3891865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BBEE7ABE-77AD-4A40-ADED-D83B23F64A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91237" y="3889313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370C06F7-5603-41E6-8BD9-06EDA6C6022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72874" y="3895693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A2C71AB9-038D-4843-9665-137E2D47BE4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954510" y="3905098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FCFA94-6B37-49F1-850E-3358476DE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20CB62-9910-41B7-AE83-DF549EE6D6E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7097749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94540302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83439"/>
            <a:ext cx="10981267" cy="1538883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Click to edit quote </a:t>
            </a:r>
            <a:br>
              <a:rPr lang="en-US" dirty="0"/>
            </a:br>
            <a:r>
              <a:rPr lang="en-US" dirty="0"/>
              <a:t>or statement.”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2686365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83439"/>
            <a:ext cx="10981267" cy="1538883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Click to edit quote </a:t>
            </a:r>
            <a:br>
              <a:rPr lang="en-US" dirty="0"/>
            </a:br>
            <a:r>
              <a:rPr lang="en-US" dirty="0"/>
              <a:t>or statement.”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900109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70616"/>
            <a:ext cx="10981267" cy="1564531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Click to edit quote </a:t>
            </a:r>
            <a:br>
              <a:rPr lang="en-US" dirty="0"/>
            </a:br>
            <a:r>
              <a:rPr lang="en-US" dirty="0"/>
              <a:t>or statement.”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7251017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J&amp;J Signature">
    <p:bg>
      <p:bgPr>
        <a:solidFill>
          <a:srgbClr val="F4F4F4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rawing of a face&#10;&#10;Description automatically generated">
            <a:extLst>
              <a:ext uri="{FF2B5EF4-FFF2-40B4-BE49-F238E27FC236}">
                <a16:creationId xmlns:a16="http://schemas.microsoft.com/office/drawing/2014/main" id="{FBE919E6-FF29-4491-98C5-FC6D748A07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51733" y="2752188"/>
            <a:ext cx="4288536" cy="13379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91227774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, RIGHT HALF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B726643-E58E-CC48-AF17-2A78BB6C30D4}"/>
              </a:ext>
            </a:extLst>
          </p:cNvPr>
          <p:cNvSpPr/>
          <p:nvPr userDrawn="1"/>
        </p:nvSpPr>
        <p:spPr bwMode="auto">
          <a:xfrm>
            <a:off x="601134" y="1361789"/>
            <a:ext cx="2576963" cy="4553236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 dirty="0" err="1">
              <a:ln>
                <a:noFill/>
              </a:ln>
              <a:solidFill>
                <a:srgbClr val="D8D8D8"/>
              </a:solidFill>
              <a:effectLst/>
              <a:latin typeface="Arial" panose="020B0604020202020204" pitchFamily="34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E188AA-0D2B-E449-A0C8-1EFBC82B9C91}"/>
              </a:ext>
            </a:extLst>
          </p:cNvPr>
          <p:cNvSpPr/>
          <p:nvPr userDrawn="1"/>
        </p:nvSpPr>
        <p:spPr bwMode="auto">
          <a:xfrm>
            <a:off x="9009672" y="1361789"/>
            <a:ext cx="2576963" cy="4553236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 dirty="0" err="1">
              <a:ln>
                <a:noFill/>
              </a:ln>
              <a:solidFill>
                <a:srgbClr val="D8D8D8"/>
              </a:solidFill>
              <a:effectLst/>
              <a:latin typeface="Arial" panose="020B0604020202020204" pitchFamily="34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C5CF704-52FC-5740-8859-CC46FFF32894}"/>
              </a:ext>
            </a:extLst>
          </p:cNvPr>
          <p:cNvSpPr/>
          <p:nvPr userDrawn="1"/>
        </p:nvSpPr>
        <p:spPr bwMode="auto">
          <a:xfrm>
            <a:off x="3409074" y="1361789"/>
            <a:ext cx="2576963" cy="4553236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 dirty="0" err="1">
              <a:ln>
                <a:noFill/>
              </a:ln>
              <a:solidFill>
                <a:srgbClr val="D8D8D8"/>
              </a:solidFill>
              <a:effectLst/>
              <a:latin typeface="Arial" panose="020B0604020202020204" pitchFamily="34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914D36-44F9-2F48-BE16-3B089B393692}"/>
              </a:ext>
            </a:extLst>
          </p:cNvPr>
          <p:cNvSpPr/>
          <p:nvPr userDrawn="1"/>
        </p:nvSpPr>
        <p:spPr bwMode="auto">
          <a:xfrm>
            <a:off x="6209373" y="1361789"/>
            <a:ext cx="2576963" cy="4553236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 dirty="0" err="1">
              <a:ln>
                <a:noFill/>
              </a:ln>
              <a:solidFill>
                <a:srgbClr val="D8D8D8"/>
              </a:solidFill>
              <a:effectLst/>
              <a:latin typeface="Arial" panose="020B0604020202020204" pitchFamily="34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3DE7820-60D0-2A47-98FB-E1D6F0ECB6D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4803" y="1558397"/>
            <a:ext cx="2169583" cy="40481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6258EAD-CB9B-C745-A692-276ADD6A52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32383" y="1558397"/>
            <a:ext cx="2169583" cy="40481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F6C0358-B85F-6E44-A9CD-2F332E6CD4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9645" y="1558397"/>
            <a:ext cx="2169583" cy="40481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7E4F1039-CF58-6A43-BB44-5674AA4F98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4162" y="2141550"/>
            <a:ext cx="2170907" cy="2678906"/>
          </a:xfrm>
        </p:spPr>
        <p:txBody>
          <a:bodyPr/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F69411A7-265F-C24E-8A73-1D09829D496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39662" y="2152335"/>
            <a:ext cx="2170907" cy="2678906"/>
          </a:xfrm>
        </p:spPr>
        <p:txBody>
          <a:bodyPr/>
          <a:lstStyle>
            <a:lvl1pPr marL="0" indent="0" defTabSz="761940">
              <a:buNone/>
              <a:defRPr sz="1500">
                <a:solidFill>
                  <a:schemeClr val="tx2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D589452-3E57-D440-9FB0-6E4868DB139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93557" y="2152335"/>
            <a:ext cx="2170907" cy="2678906"/>
          </a:xfrm>
        </p:spPr>
        <p:txBody>
          <a:bodyPr/>
          <a:lstStyle>
            <a:lvl1pPr marL="0" indent="0" defTabSz="761940">
              <a:buNone/>
              <a:defRPr sz="1500">
                <a:solidFill>
                  <a:schemeClr val="tx2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B4D1912F-14CA-384D-A430-5E9D99E320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87557" y="2152335"/>
            <a:ext cx="2170907" cy="2678906"/>
          </a:xfrm>
        </p:spPr>
        <p:txBody>
          <a:bodyPr/>
          <a:lstStyle>
            <a:lvl1pPr marL="0" indent="0" defTabSz="761940">
              <a:buNone/>
              <a:defRPr sz="1500">
                <a:solidFill>
                  <a:schemeClr val="tx2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57F6A302-A023-0448-9894-EF9B860FE5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87558" y="1558397"/>
            <a:ext cx="2169583" cy="40481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9ACF9424-4A89-49EB-9F76-4E02763932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226A8907-1443-49F6-895C-0685BCE43AD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EEDA15-9DED-45D1-8C97-C9BC64034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3046D6-1565-4456-B2F4-E8212E5DDAB8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825430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, sub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378459"/>
            <a:ext cx="10145760" cy="577081"/>
          </a:xfrm>
        </p:spPr>
        <p:txBody>
          <a:bodyPr/>
          <a:lstStyle>
            <a:lvl1pPr>
              <a:defRPr sz="3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/>
          </p:nvPr>
        </p:nvSpPr>
        <p:spPr>
          <a:xfrm>
            <a:off x="601601" y="1713178"/>
            <a:ext cx="10985780" cy="4193910"/>
          </a:xfrm>
        </p:spPr>
        <p:txBody>
          <a:bodyPr/>
          <a:lstStyle>
            <a:lvl1pPr marL="0" marR="0" indent="0" algn="ctr" defTabSz="9143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/>
            </a:lvl1pPr>
          </a:lstStyle>
          <a:p>
            <a:pPr marL="0" marR="0" lvl="0" indent="0" algn="ctr" defTabSz="9143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Click to edit Master text styles</a:t>
            </a:r>
          </a:p>
          <a:p>
            <a:pPr marL="0" marR="0" lvl="1" indent="0" algn="ctr" defTabSz="9143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marL="0" marR="0" lvl="2" indent="0" algn="ctr" defTabSz="9143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Third level</a:t>
            </a:r>
          </a:p>
          <a:p>
            <a:pPr marL="0" marR="0" lvl="3" indent="0" algn="ctr" defTabSz="9143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marL="0" marR="0" lvl="4" indent="0" algn="ctr" defTabSz="9143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52" indent="0">
              <a:buNone/>
              <a:defRPr sz="1000"/>
            </a:lvl2pPr>
            <a:lvl3pPr marL="530309" indent="0">
              <a:buNone/>
              <a:defRPr sz="1000"/>
            </a:lvl3pPr>
            <a:lvl4pPr marL="896040" indent="0">
              <a:buNone/>
              <a:defRPr sz="1000"/>
            </a:lvl4pPr>
            <a:lvl5pPr marL="1296725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6635" y="63329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FF0000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7471834" y="6331368"/>
            <a:ext cx="4114803" cy="334960"/>
          </a:xfrm>
        </p:spPr>
        <p:txBody>
          <a:bodyPr anchor="ctr"/>
          <a:lstStyle>
            <a:lvl1pPr marL="0" indent="0" algn="r">
              <a:buNone/>
              <a:defRPr sz="1000" b="1" baseline="0"/>
            </a:lvl1pPr>
            <a:lvl2pPr marL="217152" indent="0">
              <a:buNone/>
              <a:defRPr sz="1000"/>
            </a:lvl2pPr>
            <a:lvl3pPr marL="530309" indent="0">
              <a:buNone/>
              <a:defRPr sz="1000"/>
            </a:lvl3pPr>
            <a:lvl4pPr marL="896040" indent="0">
              <a:buNone/>
              <a:defRPr sz="1000"/>
            </a:lvl4pPr>
            <a:lvl5pPr marL="1296725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OPTIONAL FUNCTION NAM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40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866248"/>
      </p:ext>
    </p:extLst>
  </p:cSld>
  <p:clrMapOvr>
    <a:masterClrMapping/>
  </p:clrMapOvr>
  <p:transition>
    <p:fade/>
  </p:transition>
  <p:hf hdr="0" ft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420977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367251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 descr="A drawing of a face&#10;&#10;Description automatically generated">
            <a:extLst>
              <a:ext uri="{FF2B5EF4-FFF2-40B4-BE49-F238E27FC236}">
                <a16:creationId xmlns:a16="http://schemas.microsoft.com/office/drawing/2014/main" id="{1C9425F2-2046-456D-9DFB-F05E991B1E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728" y="5639767"/>
            <a:ext cx="2968156" cy="9260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34153222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2096843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09431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DFA5EDDA-BF57-4125-AB01-FDB2E9015D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840" y="299329"/>
            <a:ext cx="2960641" cy="9236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4689315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420977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233565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 descr="A drawing of a face&#10;&#10;Description automatically generated">
            <a:extLst>
              <a:ext uri="{FF2B5EF4-FFF2-40B4-BE49-F238E27FC236}">
                <a16:creationId xmlns:a16="http://schemas.microsoft.com/office/drawing/2014/main" id="{23B9D920-FD38-49A9-A9C2-1FD070652D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728" y="5639767"/>
            <a:ext cx="2968156" cy="9260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5428560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204A8E30-F23D-42B8-A4DA-D1BBA6FD94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465709A-5A40-4FAB-8DB6-A62697FBB41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E59732-053F-4710-A1A5-3FB81948A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15143D-07D7-4953-9034-85742E3783E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A7341B4C-7F27-49E4-ABF9-B6FED1C3E5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93E8CB-0D3D-4731-9E50-5EB436EA83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65330B4-3113-4E4F-A7F6-866902B83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0061002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20288849-2F28-49AE-956D-7E14567556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05102576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5DCDCEEB-38B4-4C29-B98F-E24FBE9CCA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77786954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37C8E1B-F248-4942-BD37-363EAF708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7461321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1956925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903107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8033328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9615036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9837991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064E82B0-63D5-4446-B657-1E110C3A1E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3AE501B-FE48-4C9F-83B5-7617A1D2B0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ACCF9F-8C09-4CF5-898D-112226216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6C2ECB-A4FE-4288-8FCC-BBE730F1B3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E7F6632-A536-4E61-832D-097A4041BD3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52817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2047CBD-D301-4AE3-8F98-0EA15F78F2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3C15858-F7D2-448E-AC37-B9D644F6BD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B689D7-D8FA-4F51-9AA0-F53B86123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08C8B9-19E9-48BB-B9CB-00227891D9C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DDC31D03-1592-4FFD-A8B8-E8D0941E316B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44FCF432-50A2-487A-B0C0-6F1BA6AC3D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F607CD07-7B46-4181-B8BB-0F88AD8441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550AF9-85EE-431B-BD54-F1FC8C6D4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60B6D8-A902-42D8-AB46-12D035F9250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023ADA1-AE77-4E30-9860-A25034135C4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1849606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mul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077EFA6-7B6E-4002-B4D7-A567FD19B7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A9C12F27-8917-4A91-BF2E-0F768AA466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1EC1A14-743D-4EE0-A878-60807D3B44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" y="1948212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38524962-5303-462F-AFF4-6DD4D159CB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91237" y="1945660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A29742B1-CD48-4F91-AFDF-D371A06C7AB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72874" y="1952040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147CD88C-B619-41B1-A824-C7444ACE32F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54510" y="1961445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62F96FA4-7CD5-434D-A000-4FC32EC3392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3891865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BBEE7ABE-77AD-4A40-ADED-D83B23F64A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91237" y="3889313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370C06F7-5603-41E6-8BD9-06EDA6C6022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72874" y="3895693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A2C71AB9-038D-4843-9665-137E2D47BE4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954510" y="3905098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FCFA94-6B37-49F1-850E-3358476DE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20CB62-9910-41B7-AE83-DF549EE6D6E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8424130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204A8E30-F23D-42B8-A4DA-D1BBA6FD94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465709A-5A40-4FAB-8DB6-A62697FBB41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E59732-053F-4710-A1A5-3FB81948A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15143D-07D7-4953-9034-85742E3783E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A7341B4C-7F27-49E4-ABF9-B6FED1C3E5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0654919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2047CBD-D301-4AE3-8F98-0EA15F78F2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3C15858-F7D2-448E-AC37-B9D644F6BD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B689D7-D8FA-4F51-9AA0-F53B86123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08C8B9-19E9-48BB-B9CB-00227891D9C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DDC31D03-1592-4FFD-A8B8-E8D0941E316B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0268876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header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3178"/>
            <a:ext cx="10972800" cy="390428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500" b="1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681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ACA0BD-B0B0-4B3D-A82B-962E37E018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7AF03CF5-4739-4CC7-AEE2-0B9F7454F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7F2A2F-0AA0-4515-934D-5D4BC9381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E1354D-3E5E-4E4A-9CA0-60C3AEE5C72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1520DDBA-6507-43D9-B5D6-89F38C956D5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2266122"/>
            <a:ext cx="10972800" cy="365329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5552539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ha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3178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000" dirty="0" smtClean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0D44E905-D953-44B5-95C2-B51A3DED58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50D3E58-915E-457E-AED4-0288379A0A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D55E13-02BE-4E33-B183-388B58486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9B263-0D8F-40A0-A832-EF1BE0984DB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8223123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0625BE61-50D8-43AF-8D14-0DB45BF446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504591F-D3FF-43BE-BDD3-44D31344A5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FD6D03-C1C3-4357-B38C-ACA608B37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1E908F-6C9E-4AA3-9F59-8ED5F603DA5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38527A99-8CC5-4235-BC4F-5ABE0627F2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9889304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A35A36AF-A0BE-4FF5-9657-877C1CB654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B79D711-EF61-4011-9FA6-6FDB01FB16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A52491-CA22-4328-97AB-8EE9D2FAF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3778AE-4C3E-40AD-9573-E0858D43120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FD50DC96-D21B-4D16-93D7-9A8D148BBEC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539496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694F8BE6-6407-4DDB-837A-578478BA1F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87440" y="1713180"/>
            <a:ext cx="539496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2374598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F9BD39F-1674-4BF0-8749-712E731C62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A105EBD-351D-4505-98DB-920A7CDF30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CE3E10-278E-41E3-B8A0-C73ADA2C2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1A62B7-E758-4594-B5E7-6F001A3CB10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323909A-81C3-4277-9039-921D923903B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AAF54C2-8FC0-4DD0-9AA2-8C9B0214D6D5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38918" y="1713180"/>
            <a:ext cx="724348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4007299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79EA6ED1-A2B2-43FF-B4A8-651685E8F2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4ABC5773-4523-4921-89C9-CC89919286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C8F46-B352-4510-97D0-BE486D8D81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9F6AB7-D22C-40D5-BF0E-EE8000C5BF4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CFC7D71-9B07-42C1-9728-35E0E94E8FC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B6203159-F37F-48BC-BD51-5BFE655249E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38918" y="1713180"/>
            <a:ext cx="724348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332016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header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3178"/>
            <a:ext cx="10972800" cy="390428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500" b="1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681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ACA0BD-B0B0-4B3D-A82B-962E37E018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7AF03CF5-4739-4CC7-AEE2-0B9F7454F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7F2A2F-0AA0-4515-934D-5D4BC9381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E1354D-3E5E-4E4A-9CA0-60C3AEE5C72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1520DDBA-6507-43D9-B5D6-89F38C956D5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2266122"/>
            <a:ext cx="10972800" cy="36532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FA5E5E89-9046-4B92-81F8-9FE18634F9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DFA1F13-D00D-4129-B06E-EC06EA440B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5035C5-22EB-4249-A65B-DF6162518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0868CF-4AEC-4320-B897-E2C930BE17E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F7DBC7AF-8BED-44DE-9C7F-512660417EE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539496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4AEBAA0A-9D44-4D9C-B711-B7FECFEEAA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87440" y="1713180"/>
            <a:ext cx="5394960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7245166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51308F76-0F94-4162-90ED-49AB65EEC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EF6C625-7DFB-4BC9-8909-7AFEFE6B8D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BE2662-2467-4E27-B0DA-15E2AAC884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03843-1005-4A82-8512-DCCA81735EF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59F098F2-E403-43AF-85C3-42BF610FEBB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080248" y="1713180"/>
            <a:ext cx="350215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5EE6BD3F-0350-4B57-82B2-CDCBC465804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09600" y="1713180"/>
            <a:ext cx="724348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90888307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39D5B29B-D593-414D-9905-2654EE1F88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508706A0-D22F-4B03-AD09-292FF11265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F3EB15A-5BC3-4367-BB21-CCA11C75362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3250" y="1406632"/>
            <a:ext cx="5143500" cy="371157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D7D64E5-E39C-492B-9373-C950F64EBD4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43186" y="1406633"/>
            <a:ext cx="5143500" cy="361745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26E0646-0EC1-4A19-8A27-410C2E58923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251" y="1826717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995C9AD-54B7-4111-ABEA-B510643D6D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43186" y="1826717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B356183-1EB8-4EF2-B0BB-F990BD15DF7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43186" y="3110085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20B8A66-6880-43D3-8122-B6ACEB66A0D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03251" y="3110085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BA18470-B9C2-464B-B53B-54F7DDBB8A0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3250" y="2589737"/>
            <a:ext cx="5143500" cy="519636"/>
          </a:xfrm>
        </p:spPr>
        <p:txBody>
          <a:bodyPr/>
          <a:lstStyle>
            <a:lvl1pPr marL="0" indent="0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D8B1B4F8-FD1B-44C6-AD8B-3D13385247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445250" y="2589737"/>
            <a:ext cx="5143500" cy="519636"/>
          </a:xfrm>
        </p:spPr>
        <p:txBody>
          <a:bodyPr/>
          <a:lstStyle>
            <a:lvl1pPr marL="0" indent="0">
              <a:buNone/>
              <a:defRPr sz="3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67E46BF-FF09-469A-BC1B-948A6FDBEA9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7503" y="3956568"/>
            <a:ext cx="2137868" cy="398488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0EF7A047-DC61-43FF-8686-C213B567E47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465434" y="3956568"/>
            <a:ext cx="2116967" cy="398488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269DF5D-3FA3-4059-973F-3FE193DE0E4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465435" y="4482056"/>
            <a:ext cx="2116966" cy="1168195"/>
          </a:xfrm>
        </p:spPr>
        <p:txBody>
          <a:bodyPr/>
          <a:lstStyle>
            <a:lvl1pPr marL="198112" indent="-198112">
              <a:spcBef>
                <a:spcPts val="800"/>
              </a:spcBef>
              <a:buFont typeface="Arial" panose="020B0604020202020204" pitchFamily="34" charset="0"/>
              <a:buChar char="•"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F35EC680-5173-4D51-9F43-B5ABF0130B9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17503" y="4482056"/>
            <a:ext cx="2137867" cy="1168195"/>
          </a:xfrm>
        </p:spPr>
        <p:txBody>
          <a:bodyPr/>
          <a:lstStyle>
            <a:lvl1pPr marL="198112" indent="-198112">
              <a:spcBef>
                <a:spcPts val="800"/>
              </a:spcBef>
              <a:buFont typeface="Arial" panose="020B0604020202020204" pitchFamily="34" charset="0"/>
              <a:buChar char="•"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DAFBC1F-1BD0-47A1-A67C-290314D3F66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829943" y="4482056"/>
            <a:ext cx="1438975" cy="116819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E857EBA-E4D8-4A75-B09D-1678C7F7EB3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29945" y="3898709"/>
            <a:ext cx="1438974" cy="519636"/>
          </a:xfrm>
        </p:spPr>
        <p:txBody>
          <a:bodyPr/>
          <a:lstStyle>
            <a:lvl1pPr marL="0" indent="0">
              <a:buNone/>
              <a:defRPr sz="3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edit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A708712-0D12-46A2-AA01-0ACC7D63330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133681" y="4482056"/>
            <a:ext cx="1412289" cy="116819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3C77796-ADDC-42C7-9A84-710C309664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133683" y="3898709"/>
            <a:ext cx="1412288" cy="519636"/>
          </a:xfrm>
        </p:spPr>
        <p:txBody>
          <a:bodyPr/>
          <a:lstStyle>
            <a:lvl1pPr marL="0" indent="0">
              <a:buNone/>
              <a:defRPr sz="366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418D3A5-77FA-4FE7-AF20-8ED6E4986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DCF1C3-A10F-4592-BC63-5F5FCD2A7480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0726357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4BE6475-7D45-4EB4-9A82-F07E160458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5836718-9BE9-4DF7-BFF0-67B38F0C2F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FB29F8-F766-4EEA-AF0A-8D7125B1D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BDBF51-BDD9-47D4-9794-DE9814A353B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A5E8EF69-874A-4E0D-AD1E-091E247D885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47EF838-90C8-498B-BDB5-00F7E3918A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44924" y="1713180"/>
            <a:ext cx="350215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1BDA823C-A7CA-4268-A35C-1C4D5D386E2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080248" y="1713180"/>
            <a:ext cx="3502152" cy="4206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2852509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olumns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C2BFE4F-52EC-EA4C-8174-6D0AB121C043}"/>
              </a:ext>
            </a:extLst>
          </p:cNvPr>
          <p:cNvSpPr/>
          <p:nvPr userDrawn="1"/>
        </p:nvSpPr>
        <p:spPr bwMode="auto">
          <a:xfrm>
            <a:off x="577659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129C99D-1F64-7E4F-B8C3-B8B45961F027}"/>
              </a:ext>
            </a:extLst>
          </p:cNvPr>
          <p:cNvSpPr/>
          <p:nvPr userDrawn="1"/>
        </p:nvSpPr>
        <p:spPr bwMode="auto">
          <a:xfrm>
            <a:off x="4349566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B694DC-BD9A-A442-9ACD-4F245C97A9FC}"/>
              </a:ext>
            </a:extLst>
          </p:cNvPr>
          <p:cNvSpPr/>
          <p:nvPr userDrawn="1"/>
        </p:nvSpPr>
        <p:spPr bwMode="auto">
          <a:xfrm>
            <a:off x="8102409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CDC70B-08BA-B44B-8C3E-30BE82F98C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08756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DE90F85-A45B-EB4F-885E-BDA161417B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8452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81FD44C-15D5-4E4E-9A40-D4A5205C1D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9047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1D6CA6-DC3E-9040-8CD5-3433B67B4B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9047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60DC261-35D6-E54B-AA97-58927CE6AF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78452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74439E9-4AE9-914D-B1E8-BB781BAEC99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8756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DAFC3A3-49BC-48B6-994B-13C419EE35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4630112-4D3B-4327-AFEF-69A672DE5E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1AAEAE-89AB-410F-B047-51B7B897E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2A7E4-4B92-4774-AD3F-A153E94D600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2760222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2341D-678F-0543-BC1F-DAF878E5E6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" y="3883026"/>
            <a:ext cx="3505200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D9755F0-C41E-2B45-9AED-E932B414A0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53736" y="3883026"/>
            <a:ext cx="3513667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29C5B03-CACE-A542-91AC-BA0C8C0200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77201" y="3883026"/>
            <a:ext cx="3505199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FE7F73C9-3F48-455D-BFC8-C12C2A65E4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3BD1F65-AD45-4791-98F4-368824440B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F42EE2-082F-4851-A3A4-5F91F7642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5BD6E0-A478-4558-BA34-89E7ADD65AC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05E081D3-F617-4754-91D1-0F2E123DA75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09599" y="1713180"/>
            <a:ext cx="3502152" cy="202996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C6E1660A-D1C9-4932-8728-14A2890934C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344924" y="1713180"/>
            <a:ext cx="3502152" cy="202996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B347574D-1A5A-4A37-8968-553E8EFD3C8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080248" y="1713180"/>
            <a:ext cx="3502152" cy="202996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6363268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olumns 1x3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4349193" y="1570154"/>
            <a:ext cx="3493057" cy="414422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606035" y="1570154"/>
            <a:ext cx="3510883" cy="414422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74527" y="1569984"/>
            <a:ext cx="3510883" cy="415175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303B4520-2D4F-4A32-9620-E39F9D8317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DDC5C370-387B-4E4A-8091-666F1171BA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556A56-88DF-4BD5-9EC5-D8DDC38FA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FB3D86-567F-4B85-BBBC-38136C9BDAE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EB49C11D-D2B9-4750-B362-440439336BA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9599" y="2136912"/>
            <a:ext cx="3502152" cy="378250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DC67EEFC-7974-489E-B530-DF12A47D36E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44924" y="2136912"/>
            <a:ext cx="3502152" cy="378250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A402F6B-DC35-43F1-A608-7D25A4EECA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080248" y="2136912"/>
            <a:ext cx="3502152" cy="378250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0155362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ull Bleed Image</a:t>
            </a:r>
          </a:p>
          <a:p>
            <a:endParaRPr lang="en-US" dirty="0"/>
          </a:p>
          <a:p>
            <a:r>
              <a:rPr lang="en-US" dirty="0"/>
              <a:t>No Cop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2C2B95-F1C7-464B-AB21-EB73C1EE9B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B8961680-1199-41F6-9E55-884BD67648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72800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95566D2-55E9-4018-95A0-B86821206B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72800" cy="230832"/>
          </a:xfr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9076864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3" y="0"/>
            <a:ext cx="1219200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Full Bleed Image</a:t>
            </a:r>
          </a:p>
          <a:p>
            <a:endParaRPr lang="en-US" dirty="0"/>
          </a:p>
          <a:p>
            <a:r>
              <a:rPr lang="en-US" dirty="0"/>
              <a:t>No Cop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260E95-878A-4B35-BD39-8D05DCD289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72800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4819CDBF-C301-485C-AA5A-C96D10B026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72800" cy="23083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AE0943-49E5-4B67-995B-D2294CDFFC3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1759778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22429063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ha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3178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000" dirty="0" smtClean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0D44E905-D953-44B5-95C2-B51A3DED58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50D3E58-915E-457E-AED4-0288379A0A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D55E13-02BE-4E33-B183-388B58486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9B263-0D8F-40A0-A832-EF1BE0984DB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83439"/>
            <a:ext cx="10981267" cy="1538883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Click to edit quote </a:t>
            </a:r>
            <a:br>
              <a:rPr lang="en-US" dirty="0"/>
            </a:br>
            <a:r>
              <a:rPr lang="en-US" dirty="0"/>
              <a:t>or statement.”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6203415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83439"/>
            <a:ext cx="10981267" cy="1538883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Click to edit quote </a:t>
            </a:r>
            <a:br>
              <a:rPr lang="en-US" dirty="0"/>
            </a:br>
            <a:r>
              <a:rPr lang="en-US" dirty="0"/>
              <a:t>or statement.”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2884017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70615"/>
            <a:ext cx="10981267" cy="1564531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Click to edit quote </a:t>
            </a:r>
            <a:br>
              <a:rPr lang="en-US" dirty="0"/>
            </a:br>
            <a:r>
              <a:rPr lang="en-US" dirty="0"/>
              <a:t>or statement.”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7449760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J&amp;J Signature">
    <p:bg>
      <p:bgPr>
        <a:solidFill>
          <a:srgbClr val="F4F4F4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rawing of a face&#10;&#10;Description automatically generated">
            <a:extLst>
              <a:ext uri="{FF2B5EF4-FFF2-40B4-BE49-F238E27FC236}">
                <a16:creationId xmlns:a16="http://schemas.microsoft.com/office/drawing/2014/main" id="{FBE919E6-FF29-4491-98C5-FC6D748A07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51732" y="2752187"/>
            <a:ext cx="4288536" cy="13379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45397745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, RIGHT HALF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B726643-E58E-CC48-AF17-2A78BB6C30D4}"/>
              </a:ext>
            </a:extLst>
          </p:cNvPr>
          <p:cNvSpPr/>
          <p:nvPr userDrawn="1"/>
        </p:nvSpPr>
        <p:spPr bwMode="auto">
          <a:xfrm>
            <a:off x="601134" y="1361789"/>
            <a:ext cx="2576963" cy="4553236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 dirty="0" err="1">
              <a:ln>
                <a:noFill/>
              </a:ln>
              <a:solidFill>
                <a:srgbClr val="D8D8D8"/>
              </a:solidFill>
              <a:effectLst/>
              <a:latin typeface="Arial" panose="020B0604020202020204" pitchFamily="34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E188AA-0D2B-E449-A0C8-1EFBC82B9C91}"/>
              </a:ext>
            </a:extLst>
          </p:cNvPr>
          <p:cNvSpPr/>
          <p:nvPr userDrawn="1"/>
        </p:nvSpPr>
        <p:spPr bwMode="auto">
          <a:xfrm>
            <a:off x="9009671" y="1361789"/>
            <a:ext cx="2576963" cy="4553236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 dirty="0" err="1">
              <a:ln>
                <a:noFill/>
              </a:ln>
              <a:solidFill>
                <a:srgbClr val="D8D8D8"/>
              </a:solidFill>
              <a:effectLst/>
              <a:latin typeface="Arial" panose="020B0604020202020204" pitchFamily="34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C5CF704-52FC-5740-8859-CC46FFF32894}"/>
              </a:ext>
            </a:extLst>
          </p:cNvPr>
          <p:cNvSpPr/>
          <p:nvPr userDrawn="1"/>
        </p:nvSpPr>
        <p:spPr bwMode="auto">
          <a:xfrm>
            <a:off x="3409073" y="1361789"/>
            <a:ext cx="2576963" cy="4553236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 dirty="0" err="1">
              <a:ln>
                <a:noFill/>
              </a:ln>
              <a:solidFill>
                <a:srgbClr val="D8D8D8"/>
              </a:solidFill>
              <a:effectLst/>
              <a:latin typeface="Arial" panose="020B0604020202020204" pitchFamily="34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914D36-44F9-2F48-BE16-3B089B393692}"/>
              </a:ext>
            </a:extLst>
          </p:cNvPr>
          <p:cNvSpPr/>
          <p:nvPr userDrawn="1"/>
        </p:nvSpPr>
        <p:spPr bwMode="auto">
          <a:xfrm>
            <a:off x="6209372" y="1361789"/>
            <a:ext cx="2576963" cy="4553236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7" b="0" i="0" u="none" strike="noStrike" cap="none" normalizeH="0" baseline="0" dirty="0" err="1">
              <a:ln>
                <a:noFill/>
              </a:ln>
              <a:solidFill>
                <a:srgbClr val="D8D8D8"/>
              </a:solidFill>
              <a:effectLst/>
              <a:latin typeface="Arial" panose="020B0604020202020204" pitchFamily="34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3DE7820-60D0-2A47-98FB-E1D6F0ECB6D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4803" y="1558396"/>
            <a:ext cx="2169583" cy="40481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6258EAD-CB9B-C745-A692-276ADD6A52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32382" y="1558396"/>
            <a:ext cx="2169583" cy="40481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F6C0358-B85F-6E44-A9CD-2F332E6CD4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9645" y="1558396"/>
            <a:ext cx="2169583" cy="40481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7E4F1039-CF58-6A43-BB44-5674AA4F98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4162" y="2141550"/>
            <a:ext cx="2170907" cy="2678906"/>
          </a:xfrm>
        </p:spPr>
        <p:txBody>
          <a:bodyPr/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F69411A7-265F-C24E-8A73-1D09829D496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39662" y="2152334"/>
            <a:ext cx="2170907" cy="2678906"/>
          </a:xfrm>
        </p:spPr>
        <p:txBody>
          <a:bodyPr/>
          <a:lstStyle>
            <a:lvl1pPr marL="0" indent="0" defTabSz="761970">
              <a:buNone/>
              <a:defRPr sz="1500">
                <a:solidFill>
                  <a:schemeClr val="tx2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D589452-3E57-D440-9FB0-6E4868DB139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93557" y="2152334"/>
            <a:ext cx="2170907" cy="2678906"/>
          </a:xfrm>
        </p:spPr>
        <p:txBody>
          <a:bodyPr/>
          <a:lstStyle>
            <a:lvl1pPr marL="0" indent="0" defTabSz="761970">
              <a:buNone/>
              <a:defRPr sz="1500">
                <a:solidFill>
                  <a:schemeClr val="tx2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B4D1912F-14CA-384D-A430-5E9D99E320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87557" y="2152334"/>
            <a:ext cx="2170907" cy="2678906"/>
          </a:xfrm>
        </p:spPr>
        <p:txBody>
          <a:bodyPr/>
          <a:lstStyle>
            <a:lvl1pPr marL="0" indent="0" defTabSz="761970">
              <a:buNone/>
              <a:defRPr sz="1500">
                <a:solidFill>
                  <a:schemeClr val="tx2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57F6A302-A023-0448-9894-EF9B860FE51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87557" y="1558396"/>
            <a:ext cx="2169583" cy="404813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9ACF9424-4A89-49EB-9F76-4E02763932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*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226A8907-1443-49F6-895C-0685BCE43AD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EEDA15-9DED-45D1-8C97-C9BC64034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3046D6-1565-4456-B2F4-E8212E5DDAB8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0398891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923295"/>
            <a:ext cx="5327468" cy="574453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3733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D486C5B-9BD6-3849-A82C-0FA9FE1382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55702" y="1907119"/>
            <a:ext cx="3056467" cy="3776133"/>
          </a:xfrm>
          <a:prstGeom prst="roundRect">
            <a:avLst>
              <a:gd name="adj" fmla="val 3471"/>
            </a:avLst>
          </a:prstGeom>
          <a:solidFill>
            <a:schemeClr val="bg1"/>
          </a:solidFill>
          <a:effectLst>
            <a:outerShdw blurRad="635000" sx="102000" sy="102000" algn="ctr" rotWithShape="0">
              <a:schemeClr val="accent2">
                <a:alpha val="20000"/>
              </a:schemeClr>
            </a:outerShdw>
          </a:effectLst>
        </p:spPr>
        <p:txBody>
          <a:bodyPr lIns="180000" tIns="2232000" rIns="180000" bIns="180000" anchor="t"/>
          <a:lstStyle>
            <a:lvl1pPr marL="0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1pPr>
            <a:lvl2pPr marL="457153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2pPr>
            <a:lvl3pPr marL="914303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3pPr>
            <a:lvl4pPr marL="1371456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4pPr>
            <a:lvl5pPr marL="1828608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E3FBA1D-68B1-6246-8367-59872D21DB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8534" y="4577084"/>
            <a:ext cx="2780483" cy="4005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Heading Her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BE161CDA-DAAA-D749-85F9-F7BF3F555D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57957" y="1907119"/>
            <a:ext cx="3056467" cy="3776133"/>
          </a:xfrm>
          <a:prstGeom prst="roundRect">
            <a:avLst>
              <a:gd name="adj" fmla="val 3471"/>
            </a:avLst>
          </a:prstGeom>
          <a:solidFill>
            <a:schemeClr val="bg1"/>
          </a:solidFill>
          <a:effectLst>
            <a:outerShdw blurRad="635000" sx="102000" sy="102000" algn="ctr" rotWithShape="0">
              <a:schemeClr val="accent2">
                <a:alpha val="20000"/>
              </a:schemeClr>
            </a:outerShdw>
          </a:effectLst>
        </p:spPr>
        <p:txBody>
          <a:bodyPr lIns="180000" tIns="2232000" rIns="180000" bIns="180000" anchor="t"/>
          <a:lstStyle>
            <a:lvl1pPr marL="0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1pPr>
            <a:lvl2pPr marL="457153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2pPr>
            <a:lvl3pPr marL="914303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3pPr>
            <a:lvl4pPr marL="1371456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4pPr>
            <a:lvl5pPr marL="1828608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702675C5-9B1E-F144-81BB-12AED0F5A3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0788" y="4577084"/>
            <a:ext cx="2780483" cy="4005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Heading Her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908B3E1B-2994-9545-9155-351B56C10D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60211" y="1907119"/>
            <a:ext cx="3056467" cy="3776133"/>
          </a:xfrm>
          <a:prstGeom prst="roundRect">
            <a:avLst>
              <a:gd name="adj" fmla="val 3471"/>
            </a:avLst>
          </a:prstGeom>
          <a:solidFill>
            <a:schemeClr val="bg1"/>
          </a:solidFill>
          <a:effectLst>
            <a:outerShdw blurRad="635000" sx="102000" sy="102000" algn="ctr" rotWithShape="0">
              <a:schemeClr val="accent2">
                <a:alpha val="20000"/>
              </a:schemeClr>
            </a:outerShdw>
          </a:effectLst>
        </p:spPr>
        <p:txBody>
          <a:bodyPr lIns="180000" tIns="2232000" rIns="180000" bIns="180000" anchor="t"/>
          <a:lstStyle>
            <a:lvl1pPr marL="0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1pPr>
            <a:lvl2pPr marL="457153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2pPr>
            <a:lvl3pPr marL="914303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3pPr>
            <a:lvl4pPr marL="1371456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4pPr>
            <a:lvl5pPr marL="1828608" indent="0">
              <a:lnSpc>
                <a:spcPct val="120000"/>
              </a:lnSpc>
              <a:buNone/>
              <a:defRPr sz="14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D27E24D5-76E8-DB4A-AB29-9E8C75A90B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3043" y="4577084"/>
            <a:ext cx="2780483" cy="4005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Heading Her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12783E03-03A8-5441-8957-706EBCF257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97157" y="6011675"/>
            <a:ext cx="65664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 b="0">
                <a:solidFill>
                  <a:schemeClr val="bg1"/>
                </a:solidFill>
                <a:latin typeface="+mn-lt"/>
              </a:defRPr>
            </a:lvl1pPr>
          </a:lstStyle>
          <a:p>
            <a:fld id="{D60983F0-243D-CF42-9100-E15EC5C8060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EE14A88D-474F-9E4E-8438-BAAD9BEA78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09496" y="6011675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 b="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D633563-0303-DB47-B38C-308D58EAA463}"/>
              </a:ext>
            </a:extLst>
          </p:cNvPr>
          <p:cNvCxnSpPr/>
          <p:nvPr userDrawn="1"/>
        </p:nvCxnSpPr>
        <p:spPr>
          <a:xfrm flipV="1">
            <a:off x="10940995" y="6011675"/>
            <a:ext cx="0" cy="366183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580315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420977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367251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drawing of a face&#10;&#10;Description automatically generated">
            <a:extLst>
              <a:ext uri="{FF2B5EF4-FFF2-40B4-BE49-F238E27FC236}">
                <a16:creationId xmlns:a16="http://schemas.microsoft.com/office/drawing/2014/main" id="{1C9425F2-2046-456D-9DFB-F05E991B1E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728" y="5639767"/>
            <a:ext cx="2968156" cy="9260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1062929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2096843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09431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DFA5EDDA-BF57-4125-AB01-FDB2E9015D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840" y="299329"/>
            <a:ext cx="2960641" cy="9236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02573458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420977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233565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drawing of a face&#10;&#10;Description automatically generated">
            <a:extLst>
              <a:ext uri="{FF2B5EF4-FFF2-40B4-BE49-F238E27FC236}">
                <a16:creationId xmlns:a16="http://schemas.microsoft.com/office/drawing/2014/main" id="{23B9D920-FD38-49A9-A9C2-1FD070652D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728" y="5639767"/>
            <a:ext cx="2968156" cy="9260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23103476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93E8CB-0D3D-4731-9E50-5EB436EA83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65330B4-3113-4E4F-A7F6-866902B83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152525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2096843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09431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DFA5EDDA-BF57-4125-AB01-FDB2E9015D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840" y="299329"/>
            <a:ext cx="2960641" cy="9236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0637403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0625BE61-50D8-43AF-8D14-0DB45BF446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504591F-D3FF-43BE-BDD3-44D31344A5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FD6D03-C1C3-4357-B38C-ACA608B37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1E908F-6C9E-4AA3-9F59-8ED5F603DA5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38527A99-8CC5-4235-BC4F-5ABE0627F2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20288849-2F28-49AE-956D-7E14567556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02201678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5DCDCEEB-38B4-4C29-B98F-E24FBE9CCA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85130793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37C8E1B-F248-4942-BD37-363EAF708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1256467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1206491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1722910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80613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5390186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7555737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064E82B0-63D5-4446-B657-1E110C3A1E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3AE501B-FE48-4C9F-83B5-7617A1D2B0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ACCF9F-8C09-4CF5-898D-112226216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6C2ECB-A4FE-4288-8FCC-BBE730F1B3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E7F6632-A536-4E61-832D-097A4041BD3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37588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44FCF432-50A2-487A-B0C0-6F1BA6AC3D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F607CD07-7B46-4181-B8BB-0F88AD8441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550AF9-85EE-431B-BD54-F1FC8C6D4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60B6D8-A902-42D8-AB46-12D035F9250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023ADA1-AE77-4E30-9860-A25034135C4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609368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A35A36AF-A0BE-4FF5-9657-877C1CB654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B79D711-EF61-4011-9FA6-6FDB01FB16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A52491-CA22-4328-97AB-8EE9D2FAF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3778AE-4C3E-40AD-9573-E0858D43120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FD50DC96-D21B-4D16-93D7-9A8D148BBEC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694F8BE6-6407-4DDB-837A-578478BA1F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8744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mul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077EFA6-7B6E-4002-B4D7-A567FD19B7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A9C12F27-8917-4A91-BF2E-0F768AA466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1EC1A14-743D-4EE0-A878-60807D3B44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" y="1948212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38524962-5303-462F-AFF4-6DD4D159CB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91237" y="1945660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A29742B1-CD48-4F91-AFDF-D371A06C7AB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72874" y="1952040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147CD88C-B619-41B1-A824-C7444ACE32F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54510" y="1961445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62F96FA4-7CD5-434D-A000-4FC32EC3392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3891865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BBEE7ABE-77AD-4A40-ADED-D83B23F64A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91237" y="3889313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370C06F7-5603-41E6-8BD9-06EDA6C6022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72874" y="3895693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A2C71AB9-038D-4843-9665-137E2D47BE4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954510" y="3905098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FCFA94-6B37-49F1-850E-3358476DE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20CB62-9910-41B7-AE83-DF549EE6D6E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8736741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204A8E30-F23D-42B8-A4DA-D1BBA6FD94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465709A-5A40-4FAB-8DB6-A62697FBB41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E59732-053F-4710-A1A5-3FB81948A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15143D-07D7-4953-9034-85742E3783E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A7341B4C-7F27-49E4-ABF9-B6FED1C3E5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0687956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2047CBD-D301-4AE3-8F98-0EA15F78F2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3C15858-F7D2-448E-AC37-B9D644F6BD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B689D7-D8FA-4F51-9AA0-F53B86123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08C8B9-19E9-48BB-B9CB-00227891D9C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DDC31D03-1592-4FFD-A8B8-E8D0941E316B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0115668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header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3178"/>
            <a:ext cx="10972800" cy="390428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500" b="1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681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ACA0BD-B0B0-4B3D-A82B-962E37E018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7AF03CF5-4739-4CC7-AEE2-0B9F7454F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7F2A2F-0AA0-4515-934D-5D4BC9381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E1354D-3E5E-4E4A-9CA0-60C3AEE5C72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1520DDBA-6507-43D9-B5D6-89F38C956D5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2266122"/>
            <a:ext cx="10972800" cy="36532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7769886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ha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3178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000" dirty="0" smtClean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0D44E905-D953-44B5-95C2-B51A3DED58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50D3E58-915E-457E-AED4-0288379A0A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D55E13-02BE-4E33-B183-388B58486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9B263-0D8F-40A0-A832-EF1BE0984DB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6115300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0625BE61-50D8-43AF-8D14-0DB45BF446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504591F-D3FF-43BE-BDD3-44D31344A5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FD6D03-C1C3-4357-B38C-ACA608B37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1E908F-6C9E-4AA3-9F59-8ED5F603DA5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38527A99-8CC5-4235-BC4F-5ABE0627F2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3118916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A35A36AF-A0BE-4FF5-9657-877C1CB654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B79D711-EF61-4011-9FA6-6FDB01FB16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A52491-CA22-4328-97AB-8EE9D2FAF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3778AE-4C3E-40AD-9573-E0858D43120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FD50DC96-D21B-4D16-93D7-9A8D148BBEC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694F8BE6-6407-4DDB-837A-578478BA1F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8744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0284856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F9BD39F-1674-4BF0-8749-712E731C62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A105EBD-351D-4505-98DB-920A7CDF30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CE3E10-278E-41E3-B8A0-C73ADA2C2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1A62B7-E758-4594-B5E7-6F001A3CB10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323909A-81C3-4277-9039-921D923903B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AAF54C2-8FC0-4DD0-9AA2-8C9B0214D6D5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38918" y="1713180"/>
            <a:ext cx="724348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7524465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79EA6ED1-A2B2-43FF-B4A8-651685E8F2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4ABC5773-4523-4921-89C9-CC89919286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C8F46-B352-4510-97D0-BE486D8D81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9F6AB7-D22C-40D5-BF0E-EE8000C5BF4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CFC7D71-9B07-42C1-9728-35E0E94E8FC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B6203159-F37F-48BC-BD51-5BFE655249E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38918" y="1713180"/>
            <a:ext cx="724348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84822653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FA5E5E89-9046-4B92-81F8-9FE18634F9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DFA1F13-D00D-4129-B06E-EC06EA440B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5035C5-22EB-4249-A65B-DF6162518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0868CF-4AEC-4320-B897-E2C930BE17E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F7DBC7AF-8BED-44DE-9C7F-512660417EE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4AEBAA0A-9D44-4D9C-B711-B7FECFEEAA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8744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608196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F9BD39F-1674-4BF0-8749-712E731C62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A105EBD-351D-4505-98DB-920A7CDF30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CE3E10-278E-41E3-B8A0-C73ADA2C2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1A62B7-E758-4594-B5E7-6F001A3CB10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323909A-81C3-4277-9039-921D923903B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AAF54C2-8FC0-4DD0-9AA2-8C9B0214D6D5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38918" y="1713180"/>
            <a:ext cx="724348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51308F76-0F94-4162-90ED-49AB65EEC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EF6C625-7DFB-4BC9-8909-7AFEFE6B8D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BE2662-2467-4E27-B0DA-15E2AAC884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03843-1005-4A82-8512-DCCA81735EF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59F098F2-E403-43AF-85C3-42BF610FEBB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080248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5EE6BD3F-0350-4B57-82B2-CDCBC465804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09600" y="1713180"/>
            <a:ext cx="724348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41778217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39D5B29B-D593-414D-9905-2654EE1F88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508706A0-D22F-4B03-AD09-292FF11265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F3EB15A-5BC3-4367-BB21-CCA11C75362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3250" y="1406632"/>
            <a:ext cx="5143500" cy="371157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D7D64E5-E39C-492B-9373-C950F64EBD4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43186" y="1406633"/>
            <a:ext cx="5143500" cy="361745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26E0646-0EC1-4A19-8A27-410C2E58923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251" y="1826717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995C9AD-54B7-4111-ABEA-B510643D6D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43186" y="1826717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B356183-1EB8-4EF2-B0BB-F990BD15DF7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43186" y="3110085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20B8A66-6880-43D3-8122-B6ACEB66A0D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03251" y="3110085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BA18470-B9C2-464B-B53B-54F7DDBB8A0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3250" y="2589737"/>
            <a:ext cx="5143500" cy="519636"/>
          </a:xfrm>
        </p:spPr>
        <p:txBody>
          <a:bodyPr/>
          <a:lstStyle>
            <a:lvl1pPr marL="0" indent="0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D8B1B4F8-FD1B-44C6-AD8B-3D13385247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445250" y="2589737"/>
            <a:ext cx="5143500" cy="519636"/>
          </a:xfrm>
        </p:spPr>
        <p:txBody>
          <a:bodyPr/>
          <a:lstStyle>
            <a:lvl1pPr marL="0" indent="0">
              <a:buNone/>
              <a:defRPr sz="3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67E46BF-FF09-469A-BC1B-948A6FDBEA9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7503" y="3956568"/>
            <a:ext cx="2137868" cy="398488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0EF7A047-DC61-43FF-8686-C213B567E47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465434" y="3956568"/>
            <a:ext cx="2116967" cy="398488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269DF5D-3FA3-4059-973F-3FE193DE0E4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465435" y="4482056"/>
            <a:ext cx="2116966" cy="1168195"/>
          </a:xfrm>
        </p:spPr>
        <p:txBody>
          <a:bodyPr/>
          <a:lstStyle>
            <a:lvl1pPr marL="198112" indent="-198112">
              <a:spcBef>
                <a:spcPts val="800"/>
              </a:spcBef>
              <a:buFont typeface="Arial" panose="020B0604020202020204" pitchFamily="34" charset="0"/>
              <a:buChar char="•"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F35EC680-5173-4D51-9F43-B5ABF0130B9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17503" y="4482056"/>
            <a:ext cx="2137867" cy="1168195"/>
          </a:xfrm>
        </p:spPr>
        <p:txBody>
          <a:bodyPr/>
          <a:lstStyle>
            <a:lvl1pPr marL="198112" indent="-198112">
              <a:spcBef>
                <a:spcPts val="800"/>
              </a:spcBef>
              <a:buFont typeface="Arial" panose="020B0604020202020204" pitchFamily="34" charset="0"/>
              <a:buChar char="•"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DAFBC1F-1BD0-47A1-A67C-290314D3F66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829943" y="4482056"/>
            <a:ext cx="1438975" cy="116819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E857EBA-E4D8-4A75-B09D-1678C7F7EB3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29945" y="3898709"/>
            <a:ext cx="1438974" cy="519636"/>
          </a:xfrm>
        </p:spPr>
        <p:txBody>
          <a:bodyPr/>
          <a:lstStyle>
            <a:lvl1pPr marL="0" indent="0">
              <a:buNone/>
              <a:defRPr sz="3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A708712-0D12-46A2-AA01-0ACC7D63330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133681" y="4482056"/>
            <a:ext cx="1412289" cy="116819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3C77796-ADDC-42C7-9A84-710C309664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133683" y="3898709"/>
            <a:ext cx="1412288" cy="519636"/>
          </a:xfrm>
        </p:spPr>
        <p:txBody>
          <a:bodyPr/>
          <a:lstStyle>
            <a:lvl1pPr marL="0" indent="0">
              <a:buNone/>
              <a:defRPr sz="366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418D3A5-77FA-4FE7-AF20-8ED6E4986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DCF1C3-A10F-4592-BC63-5F5FCD2A7480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8845350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4BE6475-7D45-4EB4-9A82-F07E160458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5836718-9BE9-4DF7-BFF0-67B38F0C2F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FB29F8-F766-4EEA-AF0A-8D7125B1D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BDBF51-BDD9-47D4-9794-DE9814A353B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A5E8EF69-874A-4E0D-AD1E-091E247D885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47EF838-90C8-498B-BDB5-00F7E3918A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44924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1BDA823C-A7CA-4268-A35C-1C4D5D386E2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080248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7877356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olumns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C2BFE4F-52EC-EA4C-8174-6D0AB121C043}"/>
              </a:ext>
            </a:extLst>
          </p:cNvPr>
          <p:cNvSpPr/>
          <p:nvPr userDrawn="1"/>
        </p:nvSpPr>
        <p:spPr bwMode="auto">
          <a:xfrm>
            <a:off x="577659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129C99D-1F64-7E4F-B8C3-B8B45961F027}"/>
              </a:ext>
            </a:extLst>
          </p:cNvPr>
          <p:cNvSpPr/>
          <p:nvPr userDrawn="1"/>
        </p:nvSpPr>
        <p:spPr bwMode="auto">
          <a:xfrm>
            <a:off x="4349566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B694DC-BD9A-A442-9ACD-4F245C97A9FC}"/>
              </a:ext>
            </a:extLst>
          </p:cNvPr>
          <p:cNvSpPr/>
          <p:nvPr userDrawn="1"/>
        </p:nvSpPr>
        <p:spPr bwMode="auto">
          <a:xfrm>
            <a:off x="8102409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CDC70B-08BA-B44B-8C3E-30BE82F98C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08756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DE90F85-A45B-EB4F-885E-BDA161417B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8452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81FD44C-15D5-4E4E-9A40-D4A5205C1D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9047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1D6CA6-DC3E-9040-8CD5-3433B67B4B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9047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60DC261-35D6-E54B-AA97-58927CE6AF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78452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74439E9-4AE9-914D-B1E8-BB781BAEC99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8756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DAFC3A3-49BC-48B6-994B-13C419EE35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4630112-4D3B-4327-AFEF-69A672DE5E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1AAEAE-89AB-410F-B047-51B7B897E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2A7E4-4B92-4774-AD3F-A153E94D600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1357116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2341D-678F-0543-BC1F-DAF878E5E6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" y="3883026"/>
            <a:ext cx="3505200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D9755F0-C41E-2B45-9AED-E932B414A0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53736" y="3883026"/>
            <a:ext cx="3513667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29C5B03-CACE-A542-91AC-BA0C8C0200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77201" y="3883026"/>
            <a:ext cx="3505199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FE7F73C9-3F48-455D-BFC8-C12C2A65E4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3BD1F65-AD45-4791-98F4-368824440B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F42EE2-082F-4851-A3A4-5F91F7642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5BD6E0-A478-4558-BA34-89E7ADD65AC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05E081D3-F617-4754-91D1-0F2E123DA75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09599" y="1713180"/>
            <a:ext cx="3502152" cy="2029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C6E1660A-D1C9-4932-8728-14A2890934C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344924" y="1713180"/>
            <a:ext cx="3502152" cy="2029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B347574D-1A5A-4A37-8968-553E8EFD3C8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080248" y="1713180"/>
            <a:ext cx="3502152" cy="2029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4735586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olumns 1x3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4349193" y="1570154"/>
            <a:ext cx="3493057" cy="414422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606035" y="1570154"/>
            <a:ext cx="3510883" cy="414422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74527" y="1569984"/>
            <a:ext cx="3510883" cy="415175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303B4520-2D4F-4A32-9620-E39F9D8317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DDC5C370-387B-4E4A-8091-666F1171BA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556A56-88DF-4BD5-9EC5-D8DDC38FA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FB3D86-567F-4B85-BBBC-38136C9BDAE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EB49C11D-D2B9-4750-B362-440439336BA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9599" y="2136912"/>
            <a:ext cx="3502152" cy="37825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DC67EEFC-7974-489E-B530-DF12A47D36E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44924" y="2136912"/>
            <a:ext cx="3502152" cy="37825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A402F6B-DC35-43F1-A608-7D25A4EECA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080248" y="2136912"/>
            <a:ext cx="3502152" cy="37825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7895231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2C2B95-F1C7-464B-AB21-EB73C1EE9B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B8961680-1199-41F6-9E55-884BD67648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72800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95566D2-55E9-4018-95A0-B86821206B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72800" cy="230832"/>
          </a:xfr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5640322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3" y="0"/>
            <a:ext cx="1219200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260E95-878A-4B35-BD39-8D05DCD289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72800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4819CDBF-C301-485C-AA5A-C96D10B026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72800" cy="23083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AE0943-49E5-4B67-995B-D2294CDFFC3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0436874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85183527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83439"/>
            <a:ext cx="10981267" cy="1538883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389865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79EA6ED1-A2B2-43FF-B4A8-651685E8F2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4ABC5773-4523-4921-89C9-CC89919286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C8F46-B352-4510-97D0-BE486D8D81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9F6AB7-D22C-40D5-BF0E-EE8000C5BF4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CFC7D71-9B07-42C1-9728-35E0E94E8FC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B6203159-F37F-48BC-BD51-5BFE655249E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38918" y="1713180"/>
            <a:ext cx="724348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64008341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83439"/>
            <a:ext cx="10981267" cy="1538883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3228792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70615"/>
            <a:ext cx="10981267" cy="1564531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4969706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J&amp;J Signature">
    <p:bg>
      <p:bgPr>
        <a:solidFill>
          <a:srgbClr val="F4F4F4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rawing of a face&#10;&#10;Description automatically generated">
            <a:extLst>
              <a:ext uri="{FF2B5EF4-FFF2-40B4-BE49-F238E27FC236}">
                <a16:creationId xmlns:a16="http://schemas.microsoft.com/office/drawing/2014/main" id="{FBE919E6-FF29-4491-98C5-FC6D748A07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51732" y="2752187"/>
            <a:ext cx="4288536" cy="13379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2227142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FA5E5E89-9046-4B92-81F8-9FE18634F9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DFA1F13-D00D-4129-B06E-EC06EA440B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5035C5-22EB-4249-A65B-DF6162518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0868CF-4AEC-4320-B897-E2C930BE17E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F7DBC7AF-8BED-44DE-9C7F-512660417EE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4AEBAA0A-9D44-4D9C-B711-B7FECFEEAA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8744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51308F76-0F94-4162-90ED-49AB65EEC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EF6C625-7DFB-4BC9-8909-7AFEFE6B8D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BE2662-2467-4E27-B0DA-15E2AAC884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03843-1005-4A82-8512-DCCA81735EF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59F098F2-E403-43AF-85C3-42BF610FEBB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080248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5EE6BD3F-0350-4B57-82B2-CDCBC465804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09600" y="1713180"/>
            <a:ext cx="724348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39D5B29B-D593-414D-9905-2654EE1F88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508706A0-D22F-4B03-AD09-292FF11265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F3EB15A-5BC3-4367-BB21-CCA11C75362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3250" y="1406632"/>
            <a:ext cx="5143500" cy="371157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D7D64E5-E39C-492B-9373-C950F64EBD4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43186" y="1406633"/>
            <a:ext cx="5143500" cy="361745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26E0646-0EC1-4A19-8A27-410C2E58923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251" y="1826717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995C9AD-54B7-4111-ABEA-B510643D6D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43186" y="1826717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B356183-1EB8-4EF2-B0BB-F990BD15DF7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43186" y="3110085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20B8A66-6880-43D3-8122-B6ACEB66A0D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03251" y="3110085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BA18470-B9C2-464B-B53B-54F7DDBB8A0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3250" y="2589737"/>
            <a:ext cx="5143500" cy="519636"/>
          </a:xfrm>
        </p:spPr>
        <p:txBody>
          <a:bodyPr/>
          <a:lstStyle>
            <a:lvl1pPr marL="0" indent="0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D8B1B4F8-FD1B-44C6-AD8B-3D13385247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445250" y="2589737"/>
            <a:ext cx="5143500" cy="519636"/>
          </a:xfrm>
        </p:spPr>
        <p:txBody>
          <a:bodyPr/>
          <a:lstStyle>
            <a:lvl1pPr marL="0" indent="0">
              <a:buNone/>
              <a:defRPr sz="3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67E46BF-FF09-469A-BC1B-948A6FDBEA9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7503" y="3956568"/>
            <a:ext cx="2137868" cy="398488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0EF7A047-DC61-43FF-8686-C213B567E47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465434" y="3956568"/>
            <a:ext cx="2116967" cy="398488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269DF5D-3FA3-4059-973F-3FE193DE0E4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465435" y="4482056"/>
            <a:ext cx="2116966" cy="1168195"/>
          </a:xfrm>
        </p:spPr>
        <p:txBody>
          <a:bodyPr/>
          <a:lstStyle>
            <a:lvl1pPr marL="198112" indent="-198112">
              <a:spcBef>
                <a:spcPts val="800"/>
              </a:spcBef>
              <a:buFont typeface="Arial" panose="020B0604020202020204" pitchFamily="34" charset="0"/>
              <a:buChar char="•"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F35EC680-5173-4D51-9F43-B5ABF0130B9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17503" y="4482056"/>
            <a:ext cx="2137867" cy="1168195"/>
          </a:xfrm>
        </p:spPr>
        <p:txBody>
          <a:bodyPr/>
          <a:lstStyle>
            <a:lvl1pPr marL="198112" indent="-198112">
              <a:spcBef>
                <a:spcPts val="800"/>
              </a:spcBef>
              <a:buFont typeface="Arial" panose="020B0604020202020204" pitchFamily="34" charset="0"/>
              <a:buChar char="•"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DAFBC1F-1BD0-47A1-A67C-290314D3F66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829943" y="4482056"/>
            <a:ext cx="1438975" cy="116819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E857EBA-E4D8-4A75-B09D-1678C7F7EB3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29945" y="3898709"/>
            <a:ext cx="1438974" cy="519636"/>
          </a:xfrm>
        </p:spPr>
        <p:txBody>
          <a:bodyPr/>
          <a:lstStyle>
            <a:lvl1pPr marL="0" indent="0">
              <a:buNone/>
              <a:defRPr sz="3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A708712-0D12-46A2-AA01-0ACC7D63330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133681" y="4482056"/>
            <a:ext cx="1412289" cy="116819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3C77796-ADDC-42C7-9A84-710C309664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133683" y="3898709"/>
            <a:ext cx="1412288" cy="519636"/>
          </a:xfrm>
        </p:spPr>
        <p:txBody>
          <a:bodyPr/>
          <a:lstStyle>
            <a:lvl1pPr marL="0" indent="0">
              <a:buNone/>
              <a:defRPr sz="366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418D3A5-77FA-4FE7-AF20-8ED6E4986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DCF1C3-A10F-4592-BC63-5F5FCD2A7480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40652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4BE6475-7D45-4EB4-9A82-F07E160458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5836718-9BE9-4DF7-BFF0-67B38F0C2F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FB29F8-F766-4EEA-AF0A-8D7125B1D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BDBF51-BDD9-47D4-9794-DE9814A353B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A5E8EF69-874A-4E0D-AD1E-091E247D885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47EF838-90C8-498B-BDB5-00F7E3918A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44924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1BDA823C-A7CA-4268-A35C-1C4D5D386E2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080248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olumns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C2BFE4F-52EC-EA4C-8174-6D0AB121C043}"/>
              </a:ext>
            </a:extLst>
          </p:cNvPr>
          <p:cNvSpPr/>
          <p:nvPr userDrawn="1"/>
        </p:nvSpPr>
        <p:spPr bwMode="auto">
          <a:xfrm>
            <a:off x="577659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129C99D-1F64-7E4F-B8C3-B8B45961F027}"/>
              </a:ext>
            </a:extLst>
          </p:cNvPr>
          <p:cNvSpPr/>
          <p:nvPr userDrawn="1"/>
        </p:nvSpPr>
        <p:spPr bwMode="auto">
          <a:xfrm>
            <a:off x="4349566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B694DC-BD9A-A442-9ACD-4F245C97A9FC}"/>
              </a:ext>
            </a:extLst>
          </p:cNvPr>
          <p:cNvSpPr/>
          <p:nvPr userDrawn="1"/>
        </p:nvSpPr>
        <p:spPr bwMode="auto">
          <a:xfrm>
            <a:off x="8102409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CDC70B-08BA-B44B-8C3E-30BE82F98C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08756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DE90F85-A45B-EB4F-885E-BDA161417B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8452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81FD44C-15D5-4E4E-9A40-D4A5205C1D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9047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1D6CA6-DC3E-9040-8CD5-3433B67B4B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9047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60DC261-35D6-E54B-AA97-58927CE6AF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78452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74439E9-4AE9-914D-B1E8-BB781BAEC99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8756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DAFC3A3-49BC-48B6-994B-13C419EE35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4630112-4D3B-4327-AFEF-69A672DE5E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1AAEAE-89AB-410F-B047-51B7B897E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2A7E4-4B92-4774-AD3F-A153E94D600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504574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2341D-678F-0543-BC1F-DAF878E5E6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" y="3883026"/>
            <a:ext cx="3505200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D9755F0-C41E-2B45-9AED-E932B414A0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53736" y="3883026"/>
            <a:ext cx="3513667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29C5B03-CACE-A542-91AC-BA0C8C0200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77201" y="3883026"/>
            <a:ext cx="3505199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FE7F73C9-3F48-455D-BFC8-C12C2A65E4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3BD1F65-AD45-4791-98F4-368824440B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F42EE2-082F-4851-A3A4-5F91F7642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5BD6E0-A478-4558-BA34-89E7ADD65AC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05E081D3-F617-4754-91D1-0F2E123DA75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09599" y="1713180"/>
            <a:ext cx="3502152" cy="2029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C6E1660A-D1C9-4932-8728-14A2890934C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344924" y="1713180"/>
            <a:ext cx="3502152" cy="2029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B347574D-1A5A-4A37-8968-553E8EFD3C8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080248" y="1713180"/>
            <a:ext cx="3502152" cy="2029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914517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420977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233565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drawing of a face&#10;&#10;Description automatically generated">
            <a:extLst>
              <a:ext uri="{FF2B5EF4-FFF2-40B4-BE49-F238E27FC236}">
                <a16:creationId xmlns:a16="http://schemas.microsoft.com/office/drawing/2014/main" id="{23B9D920-FD38-49A9-A9C2-1FD070652D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728" y="5639767"/>
            <a:ext cx="2968156" cy="9260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7672772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olumns 1x3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4349193" y="1570154"/>
            <a:ext cx="3493057" cy="414422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606035" y="1570154"/>
            <a:ext cx="3510883" cy="414422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74527" y="1569984"/>
            <a:ext cx="3510883" cy="415175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303B4520-2D4F-4A32-9620-E39F9D8317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DDC5C370-387B-4E4A-8091-666F1171BA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556A56-88DF-4BD5-9EC5-D8DDC38FA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FB3D86-567F-4B85-BBBC-38136C9BDAE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EB49C11D-D2B9-4750-B362-440439336BA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9599" y="2136912"/>
            <a:ext cx="3502152" cy="37825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DC67EEFC-7974-489E-B530-DF12A47D36E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44924" y="2136912"/>
            <a:ext cx="3502152" cy="37825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A402F6B-DC35-43F1-A608-7D25A4EECA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080248" y="2136912"/>
            <a:ext cx="3502152" cy="37825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972204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2C2B95-F1C7-464B-AB21-EB73C1EE9B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B8961680-1199-41F6-9E55-884BD67648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72800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95566D2-55E9-4018-95A0-B86821206B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72800" cy="230832"/>
          </a:xfr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3" y="0"/>
            <a:ext cx="1219200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260E95-878A-4B35-BD39-8D05DCD289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72800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4819CDBF-C301-485C-AA5A-C96D10B026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72800" cy="23083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AE0943-49E5-4B67-995B-D2294CDFFC3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83439"/>
            <a:ext cx="10981267" cy="1538883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83439"/>
            <a:ext cx="10981267" cy="1538883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70615"/>
            <a:ext cx="10981267" cy="1564531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J&amp;J Signature">
    <p:bg>
      <p:bgPr>
        <a:solidFill>
          <a:srgbClr val="F4F4F4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rawing of a face&#10;&#10;Description automatically generated">
            <a:extLst>
              <a:ext uri="{FF2B5EF4-FFF2-40B4-BE49-F238E27FC236}">
                <a16:creationId xmlns:a16="http://schemas.microsoft.com/office/drawing/2014/main" id="{FBE919E6-FF29-4491-98C5-FC6D748A07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51732" y="2752187"/>
            <a:ext cx="4288536" cy="13379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9038898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420977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367251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drawing of a face&#10;&#10;Description automatically generated">
            <a:extLst>
              <a:ext uri="{FF2B5EF4-FFF2-40B4-BE49-F238E27FC236}">
                <a16:creationId xmlns:a16="http://schemas.microsoft.com/office/drawing/2014/main" id="{1C9425F2-2046-456D-9DFB-F05E991B1E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728" y="5639767"/>
            <a:ext cx="2968156" cy="9260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0508789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2096843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09431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DFA5EDDA-BF57-4125-AB01-FDB2E9015D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840" y="299329"/>
            <a:ext cx="2960641" cy="9236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7959437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93E8CB-0D3D-4731-9E50-5EB436EA83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65330B4-3113-4E4F-A7F6-866902B83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2008746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420977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233565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drawing of a face&#10;&#10;Description automatically generated">
            <a:extLst>
              <a:ext uri="{FF2B5EF4-FFF2-40B4-BE49-F238E27FC236}">
                <a16:creationId xmlns:a16="http://schemas.microsoft.com/office/drawing/2014/main" id="{23B9D920-FD38-49A9-A9C2-1FD070652D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728" y="5639767"/>
            <a:ext cx="2968156" cy="9260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313771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93E8CB-0D3D-4731-9E50-5EB436EA83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65330B4-3113-4E4F-A7F6-866902B83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53452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20288849-2F28-49AE-956D-7E14567556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8736624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5DCDCEEB-38B4-4C29-B98F-E24FBE9CCA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128437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37C8E1B-F248-4942-BD37-363EAF708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7288022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319658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163032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862765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960097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9962421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20288849-2F28-49AE-956D-7E14567556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064E82B0-63D5-4446-B657-1E110C3A1E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3AE501B-FE48-4C9F-83B5-7617A1D2B0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ACCF9F-8C09-4CF5-898D-112226216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6C2ECB-A4FE-4288-8FCC-BBE730F1B3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E7F6632-A536-4E61-832D-097A4041BD3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93415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44FCF432-50A2-487A-B0C0-6F1BA6AC3D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F607CD07-7B46-4181-B8BB-0F88AD8441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550AF9-85EE-431B-BD54-F1FC8C6D4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60B6D8-A902-42D8-AB46-12D035F9250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023ADA1-AE77-4E30-9860-A25034135C4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924872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mul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077EFA6-7B6E-4002-B4D7-A567FD19B7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A9C12F27-8917-4A91-BF2E-0F768AA466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1EC1A14-743D-4EE0-A878-60807D3B44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" y="1948212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38524962-5303-462F-AFF4-6DD4D159CB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91237" y="1945660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A29742B1-CD48-4F91-AFDF-D371A06C7AB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72874" y="1952040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147CD88C-B619-41B1-A824-C7444ACE32F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54510" y="1961445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62F96FA4-7CD5-434D-A000-4FC32EC3392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3891865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BBEE7ABE-77AD-4A40-ADED-D83B23F64A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91237" y="3889313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370C06F7-5603-41E6-8BD9-06EDA6C6022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72874" y="3895693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A2C71AB9-038D-4843-9665-137E2D47BE4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954510" y="3905098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FCFA94-6B37-49F1-850E-3358476DE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20CB62-9910-41B7-AE83-DF549EE6D6E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4245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204A8E30-F23D-42B8-A4DA-D1BBA6FD94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465709A-5A40-4FAB-8DB6-A62697FBB41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E59732-053F-4710-A1A5-3FB81948A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15143D-07D7-4953-9034-85742E3783E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A7341B4C-7F27-49E4-ABF9-B6FED1C3E5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742895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2047CBD-D301-4AE3-8F98-0EA15F78F2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3C15858-F7D2-448E-AC37-B9D644F6BD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B689D7-D8FA-4F51-9AA0-F53B86123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08C8B9-19E9-48BB-B9CB-00227891D9C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DDC31D03-1592-4FFD-A8B8-E8D0941E316B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704344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header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3178"/>
            <a:ext cx="10972800" cy="390428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500" b="1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681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ACA0BD-B0B0-4B3D-A82B-962E37E018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7AF03CF5-4739-4CC7-AEE2-0B9F7454F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7F2A2F-0AA0-4515-934D-5D4BC9381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E1354D-3E5E-4E4A-9CA0-60C3AEE5C72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1520DDBA-6507-43D9-B5D6-89F38C956D5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2266122"/>
            <a:ext cx="10972800" cy="36532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2440288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ha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3178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000" dirty="0" smtClean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0D44E905-D953-44B5-95C2-B51A3DED58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50D3E58-915E-457E-AED4-0288379A0A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D55E13-02BE-4E33-B183-388B58486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9B263-0D8F-40A0-A832-EF1BE0984DB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794497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0625BE61-50D8-43AF-8D14-0DB45BF446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504591F-D3FF-43BE-BDD3-44D31344A5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FD6D03-C1C3-4357-B38C-ACA608B37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1E908F-6C9E-4AA3-9F59-8ED5F603DA5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38527A99-8CC5-4235-BC4F-5ABE0627F2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172590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A35A36AF-A0BE-4FF5-9657-877C1CB654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B79D711-EF61-4011-9FA6-6FDB01FB16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A52491-CA22-4328-97AB-8EE9D2FAF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3778AE-4C3E-40AD-9573-E0858D43120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FD50DC96-D21B-4D16-93D7-9A8D148BBEC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694F8BE6-6407-4DDB-837A-578478BA1F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8744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218892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F9BD39F-1674-4BF0-8749-712E731C62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A105EBD-351D-4505-98DB-920A7CDF30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CE3E10-278E-41E3-B8A0-C73ADA2C2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1A62B7-E758-4594-B5E7-6F001A3CB10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323909A-81C3-4277-9039-921D923903B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AAF54C2-8FC0-4DD0-9AA2-8C9B0214D6D5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38918" y="1713180"/>
            <a:ext cx="724348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514200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5DCDCEEB-38B4-4C29-B98F-E24FBE9CCA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79EA6ED1-A2B2-43FF-B4A8-651685E8F2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4ABC5773-4523-4921-89C9-CC89919286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C8F46-B352-4510-97D0-BE486D8D81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9F6AB7-D22C-40D5-BF0E-EE8000C5BF4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CFC7D71-9B07-42C1-9728-35E0E94E8FC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B6203159-F37F-48BC-BD51-5BFE655249E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38918" y="1713180"/>
            <a:ext cx="724348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2475182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FA5E5E89-9046-4B92-81F8-9FE18634F9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DFA1F13-D00D-4129-B06E-EC06EA440B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5035C5-22EB-4249-A65B-DF6162518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0868CF-4AEC-4320-B897-E2C930BE17E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F7DBC7AF-8BED-44DE-9C7F-512660417EE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4AEBAA0A-9D44-4D9C-B711-B7FECFEEAAA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8744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1806999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51308F76-0F94-4162-90ED-49AB65EEC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EF6C625-7DFB-4BC9-8909-7AFEFE6B8D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BE2662-2467-4E27-B0DA-15E2AAC884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03843-1005-4A82-8512-DCCA81735EF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59F098F2-E403-43AF-85C3-42BF610FEBB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080248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5EE6BD3F-0350-4B57-82B2-CDCBC465804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09600" y="1713180"/>
            <a:ext cx="724348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3457361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39D5B29B-D593-414D-9905-2654EE1F88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508706A0-D22F-4B03-AD09-292FF11265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F3EB15A-5BC3-4367-BB21-CCA11C75362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3250" y="1406632"/>
            <a:ext cx="5143500" cy="371157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D7D64E5-E39C-492B-9373-C950F64EBD4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43186" y="1406633"/>
            <a:ext cx="5143500" cy="361745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26E0646-0EC1-4A19-8A27-410C2E58923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3251" y="1826717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995C9AD-54B7-4111-ABEA-B510643D6D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43186" y="1826717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B356183-1EB8-4EF2-B0BB-F990BD15DF7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43186" y="3110085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20B8A66-6880-43D3-8122-B6ACEB66A0D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03251" y="3110085"/>
            <a:ext cx="5143500" cy="556457"/>
          </a:xfrm>
        </p:spPr>
        <p:txBody>
          <a:bodyPr/>
          <a:lstStyle>
            <a:lvl1pPr marL="0" indent="0"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BA18470-B9C2-464B-B53B-54F7DDBB8A0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3250" y="2589737"/>
            <a:ext cx="5143500" cy="519636"/>
          </a:xfrm>
        </p:spPr>
        <p:txBody>
          <a:bodyPr/>
          <a:lstStyle>
            <a:lvl1pPr marL="0" indent="0">
              <a:buNone/>
              <a:defRPr sz="3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D8B1B4F8-FD1B-44C6-AD8B-3D13385247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445250" y="2589737"/>
            <a:ext cx="5143500" cy="519636"/>
          </a:xfrm>
        </p:spPr>
        <p:txBody>
          <a:bodyPr/>
          <a:lstStyle>
            <a:lvl1pPr marL="0" indent="0">
              <a:buNone/>
              <a:defRPr sz="3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67E46BF-FF09-469A-BC1B-948A6FDBEA9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7503" y="3956568"/>
            <a:ext cx="2137868" cy="398488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0EF7A047-DC61-43FF-8686-C213B567E47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465434" y="3956568"/>
            <a:ext cx="2116967" cy="398488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269DF5D-3FA3-4059-973F-3FE193DE0E4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465435" y="4482056"/>
            <a:ext cx="2116966" cy="1168195"/>
          </a:xfrm>
        </p:spPr>
        <p:txBody>
          <a:bodyPr/>
          <a:lstStyle>
            <a:lvl1pPr marL="198112" indent="-198112">
              <a:spcBef>
                <a:spcPts val="800"/>
              </a:spcBef>
              <a:buFont typeface="Arial" panose="020B0604020202020204" pitchFamily="34" charset="0"/>
              <a:buChar char="•"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F35EC680-5173-4D51-9F43-B5ABF0130B9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17503" y="4482056"/>
            <a:ext cx="2137867" cy="1168195"/>
          </a:xfrm>
        </p:spPr>
        <p:txBody>
          <a:bodyPr/>
          <a:lstStyle>
            <a:lvl1pPr marL="198112" indent="-198112">
              <a:spcBef>
                <a:spcPts val="800"/>
              </a:spcBef>
              <a:buFont typeface="Arial" panose="020B0604020202020204" pitchFamily="34" charset="0"/>
              <a:buChar char="•"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DAFBC1F-1BD0-47A1-A67C-290314D3F66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829943" y="4482056"/>
            <a:ext cx="1438975" cy="116819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E857EBA-E4D8-4A75-B09D-1678C7F7EB3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29945" y="3898709"/>
            <a:ext cx="1438974" cy="519636"/>
          </a:xfrm>
        </p:spPr>
        <p:txBody>
          <a:bodyPr/>
          <a:lstStyle>
            <a:lvl1pPr marL="0" indent="0">
              <a:buNone/>
              <a:defRPr sz="3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A708712-0D12-46A2-AA01-0ACC7D63330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133681" y="4482056"/>
            <a:ext cx="1412289" cy="116819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3C77796-ADDC-42C7-9A84-710C309664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133683" y="3898709"/>
            <a:ext cx="1412288" cy="519636"/>
          </a:xfrm>
        </p:spPr>
        <p:txBody>
          <a:bodyPr/>
          <a:lstStyle>
            <a:lvl1pPr marL="0" indent="0">
              <a:buNone/>
              <a:defRPr sz="3667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418D3A5-77FA-4FE7-AF20-8ED6E4986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DCF1C3-A10F-4592-BC63-5F5FCD2A7480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1209330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4BE6475-7D45-4EB4-9A82-F07E160458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5836718-9BE9-4DF7-BFF0-67B38F0C2F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FB29F8-F766-4EEA-AF0A-8D7125B1D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BDBF51-BDD9-47D4-9794-DE9814A353B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A5E8EF69-874A-4E0D-AD1E-091E247D8856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147EF838-90C8-498B-BDB5-00F7E3918ACF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44924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1BDA823C-A7CA-4268-A35C-1C4D5D386E2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080248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359443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olumns 1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C2BFE4F-52EC-EA4C-8174-6D0AB121C043}"/>
              </a:ext>
            </a:extLst>
          </p:cNvPr>
          <p:cNvSpPr/>
          <p:nvPr userDrawn="1"/>
        </p:nvSpPr>
        <p:spPr bwMode="auto">
          <a:xfrm>
            <a:off x="577659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129C99D-1F64-7E4F-B8C3-B8B45961F027}"/>
              </a:ext>
            </a:extLst>
          </p:cNvPr>
          <p:cNvSpPr/>
          <p:nvPr userDrawn="1"/>
        </p:nvSpPr>
        <p:spPr bwMode="auto">
          <a:xfrm>
            <a:off x="4349566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B694DC-BD9A-A442-9ACD-4F245C97A9FC}"/>
              </a:ext>
            </a:extLst>
          </p:cNvPr>
          <p:cNvSpPr/>
          <p:nvPr userDrawn="1"/>
        </p:nvSpPr>
        <p:spPr bwMode="auto">
          <a:xfrm>
            <a:off x="8102409" y="1083013"/>
            <a:ext cx="3498295" cy="483201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CDC70B-08BA-B44B-8C3E-30BE82F98C4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08756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DE90F85-A45B-EB4F-885E-BDA161417B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8452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81FD44C-15D5-4E4E-9A40-D4A5205C1D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9047" y="1276350"/>
            <a:ext cx="3075517" cy="5080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1D6CA6-DC3E-9040-8CD5-3433B67B4B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9047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60DC261-35D6-E54B-AA97-58927CE6AF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78452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74439E9-4AE9-914D-B1E8-BB781BAEC99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8756" y="1992760"/>
            <a:ext cx="3075517" cy="29273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DAFC3A3-49BC-48B6-994B-13C419EE35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4630112-4D3B-4327-AFEF-69A672DE5E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1AAEAE-89AB-410F-B047-51B7B897E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2A7E4-4B92-4774-AD3F-A153E94D600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9612722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lumns 1x3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72341D-678F-0543-BC1F-DAF878E5E6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" y="3883026"/>
            <a:ext cx="3505200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D9755F0-C41E-2B45-9AED-E932B414A0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53736" y="3883026"/>
            <a:ext cx="3513667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29C5B03-CACE-A542-91AC-BA0C8C0200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77201" y="3883026"/>
            <a:ext cx="3505199" cy="1971675"/>
          </a:xfrm>
        </p:spPr>
        <p:txBody>
          <a:bodyPr/>
          <a:lstStyle>
            <a:lvl1pPr marL="237744"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 marL="530352" indent="0">
              <a:buNone/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FE7F73C9-3F48-455D-BFC8-C12C2A65E4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3BD1F65-AD45-4791-98F4-368824440B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F42EE2-082F-4851-A3A4-5F91F7642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5BD6E0-A478-4558-BA34-89E7ADD65AC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05E081D3-F617-4754-91D1-0F2E123DA750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09599" y="1713180"/>
            <a:ext cx="3502152" cy="2029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C6E1660A-D1C9-4932-8728-14A2890934C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344924" y="1713180"/>
            <a:ext cx="3502152" cy="2029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B347574D-1A5A-4A37-8968-553E8EFD3C86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080248" y="1713180"/>
            <a:ext cx="3502152" cy="2029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273631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, columns 1x3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4349193" y="1570154"/>
            <a:ext cx="3493057" cy="414422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606035" y="1570154"/>
            <a:ext cx="3510883" cy="414422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74527" y="1569984"/>
            <a:ext cx="3510883" cy="415175"/>
          </a:xfrm>
          <a:solidFill>
            <a:srgbClr val="FFFFFF"/>
          </a:solidFill>
          <a:ln>
            <a:noFill/>
          </a:ln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217170" indent="0">
              <a:buNone/>
              <a:defRPr sz="1400"/>
            </a:lvl2pPr>
            <a:lvl3pPr marL="530352" indent="0">
              <a:buNone/>
              <a:defRPr sz="1400"/>
            </a:lvl3pPr>
            <a:lvl4pPr marL="896112" indent="0">
              <a:buNone/>
              <a:defRPr sz="1400"/>
            </a:lvl4pPr>
            <a:lvl5pPr marL="1296829" indent="0">
              <a:buNone/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303B4520-2D4F-4A32-9620-E39F9D8317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DDC5C370-387B-4E4A-8091-666F1171BA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556A56-88DF-4BD5-9EC5-D8DDC38FA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FB3D86-567F-4B85-BBBC-38136C9BDAE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EB49C11D-D2B9-4750-B362-440439336BA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09599" y="2136912"/>
            <a:ext cx="3502152" cy="37825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DC67EEFC-7974-489E-B530-DF12A47D36E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44924" y="2136912"/>
            <a:ext cx="3502152" cy="37825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A402F6B-DC35-43F1-A608-7D25A4EECA1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080248" y="2136912"/>
            <a:ext cx="3502152" cy="37825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356955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2C2B95-F1C7-464B-AB21-EB73C1EE9B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B8961680-1199-41F6-9E55-884BD67648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72800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r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95566D2-55E9-4018-95A0-B86821206B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72800" cy="230832"/>
          </a:xfrm>
        </p:spPr>
        <p:txBody>
          <a:bodyPr wrap="square" anchor="b" anchorCtr="0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96302523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,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3" y="0"/>
            <a:ext cx="1219200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Full Bleed Image</a:t>
            </a:r>
          </a:p>
          <a:p>
            <a:endParaRPr lang="en-US"/>
          </a:p>
          <a:p>
            <a:r>
              <a:rPr lang="en-US"/>
              <a:t>No Cop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260E95-878A-4B35-BD39-8D05DCD289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5367" y="5694564"/>
            <a:ext cx="10972800" cy="398263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89611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000" dirty="0" smtClean="0">
                <a:solidFill>
                  <a:schemeClr val="bg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0" indent="0" algn="r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None/>
              <a:defRPr lang="en-US" sz="1400" dirty="0" smtClean="0">
                <a:solidFill>
                  <a:schemeClr val="tx1"/>
                </a:solidFill>
                <a:latin typeface="Arial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4819CDBF-C301-485C-AA5A-C96D10B026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5340" y="6055668"/>
            <a:ext cx="10972800" cy="23083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AE0943-49E5-4B67-995B-D2294CDFFC3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554061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37C8E1B-F248-4942-BD37-363EAF708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46302587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83439"/>
            <a:ext cx="10981267" cy="1538883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380633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83439"/>
            <a:ext cx="10981267" cy="1538883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1513517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05367" y="1970615"/>
            <a:ext cx="10981267" cy="1564531"/>
          </a:xfrm>
        </p:spPr>
        <p:txBody>
          <a:bodyPr anchor="ctr"/>
          <a:lstStyle>
            <a:lvl1pPr algn="l">
              <a:lnSpc>
                <a:spcPct val="100000"/>
              </a:lnSpc>
              <a:defRPr sz="5000" kern="15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edit quote </a:t>
            </a:r>
            <a:br>
              <a:rPr lang="en-US"/>
            </a:br>
            <a:r>
              <a:rPr lang="en-US"/>
              <a:t>or statement.”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5367" y="5083557"/>
            <a:ext cx="10981267" cy="148113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000" b="1" kern="1500" spc="-1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– Attribu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6776981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J&amp;J Signature">
    <p:bg>
      <p:bgPr>
        <a:solidFill>
          <a:srgbClr val="F4F4F4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rawing of a face&#10;&#10;Description automatically generated">
            <a:extLst>
              <a:ext uri="{FF2B5EF4-FFF2-40B4-BE49-F238E27FC236}">
                <a16:creationId xmlns:a16="http://schemas.microsoft.com/office/drawing/2014/main" id="{FBE919E6-FF29-4491-98C5-FC6D748A07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51732" y="2752187"/>
            <a:ext cx="4288536" cy="13379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004000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57708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rgbClr val="595959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6635" y="63329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EEF158-6529-4A79-AC74-5B2063027C16}"/>
              </a:ext>
            </a:extLst>
          </p:cNvPr>
          <p:cNvSpPr/>
          <p:nvPr userDrawn="1"/>
        </p:nvSpPr>
        <p:spPr>
          <a:xfrm>
            <a:off x="2036919" y="6416977"/>
            <a:ext cx="81181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Confidential—For Discussion Purposes Only:  The information contained herein is for discussion only and does not reflect any final decisions</a:t>
            </a:r>
          </a:p>
        </p:txBody>
      </p:sp>
    </p:spTree>
    <p:extLst>
      <p:ext uri="{BB962C8B-B14F-4D97-AF65-F5344CB8AC3E}">
        <p14:creationId xmlns:p14="http://schemas.microsoft.com/office/powerpoint/2010/main" val="20333731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1"/>
          <p:cNvSpPr>
            <a:spLocks noGrp="1"/>
          </p:cNvSpPr>
          <p:nvPr>
            <p:ph sz="quarter" idx="15"/>
          </p:nvPr>
        </p:nvSpPr>
        <p:spPr>
          <a:xfrm>
            <a:off x="601601" y="1713178"/>
            <a:ext cx="10985780" cy="4169411"/>
          </a:xfrm>
        </p:spPr>
        <p:txBody>
          <a:bodyPr/>
          <a:lstStyle>
            <a:lvl1pPr marL="0" marR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/>
            </a:lvl1pPr>
          </a:lstStyle>
          <a:p>
            <a:pPr marL="0" marR="0" lvl="0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Edit Master text styles</a:t>
            </a:r>
          </a:p>
          <a:p>
            <a:pPr marL="0" marR="0" lvl="1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Second level</a:t>
            </a:r>
          </a:p>
          <a:p>
            <a:pPr marL="0" marR="0" lvl="2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hird level</a:t>
            </a:r>
          </a:p>
          <a:p>
            <a:pPr marL="0" marR="0" lvl="3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ourth level</a:t>
            </a:r>
          </a:p>
          <a:p>
            <a:pPr marL="0" marR="0" lvl="4" indent="0" algn="ctr" defTabSz="914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>
                <a:ln>
                  <a:noFill/>
                </a:ln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ifth level</a:t>
            </a:r>
            <a:endParaRPr lang="en-US"/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8780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61" indent="0">
              <a:buNone/>
              <a:defRPr sz="1000"/>
            </a:lvl2pPr>
            <a:lvl3pPr marL="530330" indent="0">
              <a:buNone/>
              <a:defRPr sz="1000"/>
            </a:lvl3pPr>
            <a:lvl4pPr marL="896076" indent="0">
              <a:buNone/>
              <a:defRPr sz="1000"/>
            </a:lvl4pPr>
            <a:lvl5pPr marL="1296777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1019039"/>
            <a:ext cx="10981267" cy="38472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5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9CB053C-917F-3442-95E2-DB922C9FB8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46985" y="6407470"/>
            <a:ext cx="4853049" cy="257257"/>
          </a:xfrm>
        </p:spPr>
        <p:txBody>
          <a:bodyPr/>
          <a:lstStyle>
            <a:lvl1pPr marL="0" indent="0" algn="r">
              <a:buNone/>
              <a:defRPr sz="750" b="1"/>
            </a:lvl1pPr>
          </a:lstStyle>
          <a:p>
            <a:pPr lvl="0"/>
            <a:r>
              <a:rPr lang="en-US"/>
              <a:t>OPTIONAL FUNCTION NAM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583EDC4-237D-9841-A7A3-2E3EB25AA9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C8102E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4657BC-2BC6-344D-BA73-33733418FC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660760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601134" y="6093619"/>
            <a:ext cx="10985500" cy="159263"/>
          </a:xfrm>
        </p:spPr>
        <p:txBody>
          <a:bodyPr anchor="ctr"/>
          <a:lstStyle>
            <a:lvl1pPr marL="0" indent="0">
              <a:buNone/>
              <a:defRPr sz="1000" baseline="0"/>
            </a:lvl1pPr>
            <a:lvl2pPr marL="217152" indent="0">
              <a:buNone/>
              <a:defRPr sz="1000"/>
            </a:lvl2pPr>
            <a:lvl3pPr marL="530309" indent="0">
              <a:buNone/>
              <a:defRPr sz="1000"/>
            </a:lvl3pPr>
            <a:lvl4pPr marL="896040" indent="0">
              <a:buNone/>
              <a:defRPr sz="1000"/>
            </a:lvl4pPr>
            <a:lvl5pPr marL="1296725" indent="0">
              <a:buNone/>
              <a:defRPr sz="1000"/>
            </a:lvl5pPr>
          </a:lstStyle>
          <a:p>
            <a:r>
              <a:rPr lang="en-US" sz="1000">
                <a:solidFill>
                  <a:srgbClr val="595959"/>
                </a:solidFill>
              </a:rPr>
              <a:t>Click to add footnot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6635" y="633295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315587"/>
      </p:ext>
    </p:extLst>
  </p:cSld>
  <p:clrMapOvr>
    <a:masterClrMapping/>
  </p:clrMapOvr>
  <p:transition>
    <p:fade/>
  </p:transition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420977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367251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drawing of a face&#10;&#10;Description automatically generated">
            <a:extLst>
              <a:ext uri="{FF2B5EF4-FFF2-40B4-BE49-F238E27FC236}">
                <a16:creationId xmlns:a16="http://schemas.microsoft.com/office/drawing/2014/main" id="{1C9425F2-2046-456D-9DFB-F05E991B1E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728" y="5639767"/>
            <a:ext cx="2968156" cy="9260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30265483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2096843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09431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DFA5EDDA-BF57-4125-AB01-FDB2E9015D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840" y="299329"/>
            <a:ext cx="2960641" cy="9236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9276740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esenta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5367" y="420977"/>
            <a:ext cx="10981267" cy="1615440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None/>
              <a:defRPr kumimoji="0" lang="en-US" sz="5000" b="1" i="0" u="none" strike="noStrike" kern="1500" cap="none" spc="-1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2233565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drawing of a face&#10;&#10;Description automatically generated">
            <a:extLst>
              <a:ext uri="{FF2B5EF4-FFF2-40B4-BE49-F238E27FC236}">
                <a16:creationId xmlns:a16="http://schemas.microsoft.com/office/drawing/2014/main" id="{23B9D920-FD38-49A9-A9C2-1FD070652D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5728" y="5639767"/>
            <a:ext cx="2968156" cy="9260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94208763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93E8CB-0D3D-4731-9E50-5EB436EA83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65330B4-3113-4E4F-A7F6-866902B83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2857418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20288849-2F28-49AE-956D-7E14567556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42270522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pic>
        <p:nvPicPr>
          <p:cNvPr id="5" name="Picture 4" descr="A drawing of a face&#10;&#10;Description automatically generated">
            <a:extLst>
              <a:ext uri="{FF2B5EF4-FFF2-40B4-BE49-F238E27FC236}">
                <a16:creationId xmlns:a16="http://schemas.microsoft.com/office/drawing/2014/main" id="{5DCDCEEB-38B4-4C29-B98F-E24FBE9CCA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78425069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37C8E1B-F248-4942-BD37-363EAF708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029850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4073024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9278787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8274297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6376012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, sub magent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5367" y="3927110"/>
            <a:ext cx="10981267" cy="14811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5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472333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05367" y="1532966"/>
            <a:ext cx="10981267" cy="2063311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marR="0" indent="0" algn="l" defTabSz="6400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5000" b="1" i="0" u="none" strike="noStrike" kern="1500" cap="none" spc="-1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Arial" charset="0"/>
                <a:cs typeface="Arial" charset="0"/>
                <a:sym typeface="Arial" pitchFamily="-65" charset="0"/>
              </a:defRPr>
            </a:lvl1pPr>
          </a:lstStyle>
          <a:p>
            <a:pPr marL="0" marR="0" lvl="0" indent="0" algn="l" defTabSz="640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064E82B0-63D5-4446-B657-1E110C3A1E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3AE501B-FE48-4C9F-83B5-7617A1D2B0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ACCF9F-8C09-4CF5-898D-112226216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6C2ECB-A4FE-4288-8FCC-BBE730F1B3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E7F6632-A536-4E61-832D-097A4041BD3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74459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44FCF432-50A2-487A-B0C0-6F1BA6AC3D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F607CD07-7B46-4181-B8BB-0F88AD8441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550AF9-85EE-431B-BD54-F1FC8C6D4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60B6D8-A902-42D8-AB46-12D035F9250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023ADA1-AE77-4E30-9860-A25034135C4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9924387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mul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077EFA6-7B6E-4002-B4D7-A567FD19B7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A9C12F27-8917-4A91-BF2E-0F768AA466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1EC1A14-743D-4EE0-A878-60807D3B44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" y="1948212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38524962-5303-462F-AFF4-6DD4D159CB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91237" y="1945660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A29742B1-CD48-4F91-AFDF-D371A06C7AB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72874" y="1952040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147CD88C-B619-41B1-A824-C7444ACE32F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54510" y="1961445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62F96FA4-7CD5-434D-A000-4FC32EC3392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" y="3891865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BBEE7ABE-77AD-4A40-ADED-D83B23F64A8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391237" y="3889313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370C06F7-5603-41E6-8BD9-06EDA6C6022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72874" y="3895693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A2C71AB9-038D-4843-9665-137E2D47BE4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954510" y="3905098"/>
            <a:ext cx="2614268" cy="175896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FCFA94-6B37-49F1-850E-3358476DE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20CB62-9910-41B7-AE83-DF549EE6D6E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2230692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204A8E30-F23D-42B8-A4DA-D1BBA6FD94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465709A-5A40-4FAB-8DB6-A62697FBB41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E59732-053F-4710-A1A5-3FB81948A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15143D-07D7-4953-9034-85742E3783E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A7341B4C-7F27-49E4-ABF9-B6FED1C3E54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3537198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82047CBD-D301-4AE3-8F98-0EA15F78F2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3C15858-F7D2-448E-AC37-B9D644F6BD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B689D7-D8FA-4F51-9AA0-F53B86123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08C8B9-19E9-48BB-B9CB-00227891D9C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DDC31D03-1592-4FFD-A8B8-E8D0941E316B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9280873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header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3178"/>
            <a:ext cx="10972800" cy="390428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500" b="1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681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2ACA0BD-B0B0-4B3D-A82B-962E37E018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7AF03CF5-4739-4CC7-AEE2-0B9F7454F4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7F2A2F-0AA0-4515-934D-5D4BC9381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E1354D-3E5E-4E4A-9CA0-60C3AEE5C72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1520DDBA-6507-43D9-B5D6-89F38C956D5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2266122"/>
            <a:ext cx="10972800" cy="36532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8016828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har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3178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  <a:defRPr lang="en-US" sz="2000" dirty="0" smtClean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20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 smtClean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defRPr lang="en-US" sz="1800" dirty="0">
                <a:solidFill>
                  <a:schemeClr val="tx1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0D44E905-D953-44B5-95C2-B51A3DED58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50D3E58-915E-457E-AED4-0288379A0A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D55E13-02BE-4E33-B183-388B58486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9B263-0D8F-40A0-A832-EF1BE0984DB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7554142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0625BE61-50D8-43AF-8D14-0DB45BF446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504591F-D3FF-43BE-BDD3-44D31344A5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FD6D03-C1C3-4357-B38C-ACA608B37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1E908F-6C9E-4AA3-9F59-8ED5F603DA5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38527A99-8CC5-4235-BC4F-5ABE0627F2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1097280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8540146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LEFT HALF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A35A36AF-A0BE-4FF5-9657-877C1CB654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B79D711-EF61-4011-9FA6-6FDB01FB16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A52491-CA22-4328-97AB-8EE9D2FAF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3778AE-4C3E-40AD-9573-E0858D43120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FD50DC96-D21B-4D16-93D7-9A8D148BBEC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694F8BE6-6407-4DDB-837A-578478BA1FE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87440" y="1713180"/>
            <a:ext cx="5394960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2484130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10972800" cy="307777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F9BD39F-1674-4BF0-8749-712E731C62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" y="5913259"/>
            <a:ext cx="557497" cy="251942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*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A105EBD-351D-4505-98DB-920A7CDF30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" y="5913259"/>
            <a:ext cx="10980757" cy="251942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  <a:lvl2pPr marL="217170" indent="0">
              <a:buNone/>
              <a:defRPr sz="1000"/>
            </a:lvl2pPr>
            <a:lvl3pPr marL="530352" indent="0">
              <a:buNone/>
              <a:defRPr sz="1000"/>
            </a:lvl3pPr>
            <a:lvl4pPr marL="896112" indent="0">
              <a:buNone/>
              <a:defRPr sz="1000"/>
            </a:lvl4pPr>
            <a:lvl5pPr marL="1296829" indent="0">
              <a:buNone/>
              <a:defRPr sz="1000"/>
            </a:lvl5pPr>
          </a:lstStyle>
          <a:p>
            <a:pPr lvl="0"/>
            <a:r>
              <a:rPr lang="en-US"/>
              <a:t>Click to add footno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CE3E10-278E-41E3-B8A0-C73ADA2C2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1A62B7-E758-4594-B5E7-6F001A3CB10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323909A-81C3-4277-9039-921D923903B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50215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AAF54C2-8FC0-4DD0-9AA2-8C9B0214D6D5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338918" y="1713180"/>
            <a:ext cx="7243482" cy="42062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992608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9" Type="http://schemas.openxmlformats.org/officeDocument/2006/relationships/slideLayout" Target="../slideLayouts/slideLayout76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42" Type="http://schemas.openxmlformats.org/officeDocument/2006/relationships/tags" Target="../tags/tag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slideLayout" Target="../slideLayouts/slideLayout75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40" Type="http://schemas.openxmlformats.org/officeDocument/2006/relationships/slideLayout" Target="../slideLayouts/slideLayout77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43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9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34" Type="http://schemas.openxmlformats.org/officeDocument/2006/relationships/slideLayout" Target="../slideLayouts/slideLayout111.xml"/><Relationship Id="rId42" Type="http://schemas.openxmlformats.org/officeDocument/2006/relationships/tags" Target="../tags/tag7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33" Type="http://schemas.openxmlformats.org/officeDocument/2006/relationships/slideLayout" Target="../slideLayouts/slideLayout110.xml"/><Relationship Id="rId38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106.xml"/><Relationship Id="rId41" Type="http://schemas.openxmlformats.org/officeDocument/2006/relationships/theme" Target="../theme/theme3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32" Type="http://schemas.openxmlformats.org/officeDocument/2006/relationships/slideLayout" Target="../slideLayouts/slideLayout109.xml"/><Relationship Id="rId37" Type="http://schemas.openxmlformats.org/officeDocument/2006/relationships/slideLayout" Target="../slideLayouts/slideLayout114.xml"/><Relationship Id="rId40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36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Relationship Id="rId35" Type="http://schemas.openxmlformats.org/officeDocument/2006/relationships/slideLayout" Target="../slideLayouts/slideLayout112.xml"/><Relationship Id="rId43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26" Type="http://schemas.openxmlformats.org/officeDocument/2006/relationships/slideLayout" Target="../slideLayouts/slideLayout143.xml"/><Relationship Id="rId39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20.xml"/><Relationship Id="rId21" Type="http://schemas.openxmlformats.org/officeDocument/2006/relationships/slideLayout" Target="../slideLayouts/slideLayout138.xml"/><Relationship Id="rId34" Type="http://schemas.openxmlformats.org/officeDocument/2006/relationships/slideLayout" Target="../slideLayouts/slideLayout151.xml"/><Relationship Id="rId42" Type="http://schemas.openxmlformats.org/officeDocument/2006/relationships/image" Target="../media/image1.png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5" Type="http://schemas.openxmlformats.org/officeDocument/2006/relationships/slideLayout" Target="../slideLayouts/slideLayout142.xml"/><Relationship Id="rId33" Type="http://schemas.openxmlformats.org/officeDocument/2006/relationships/slideLayout" Target="../slideLayouts/slideLayout150.xml"/><Relationship Id="rId38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0" Type="http://schemas.openxmlformats.org/officeDocument/2006/relationships/slideLayout" Target="../slideLayouts/slideLayout137.xml"/><Relationship Id="rId29" Type="http://schemas.openxmlformats.org/officeDocument/2006/relationships/slideLayout" Target="../slideLayouts/slideLayout146.xml"/><Relationship Id="rId41" Type="http://schemas.openxmlformats.org/officeDocument/2006/relationships/tags" Target="../tags/tag116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24" Type="http://schemas.openxmlformats.org/officeDocument/2006/relationships/slideLayout" Target="../slideLayouts/slideLayout141.xml"/><Relationship Id="rId32" Type="http://schemas.openxmlformats.org/officeDocument/2006/relationships/slideLayout" Target="../slideLayouts/slideLayout149.xml"/><Relationship Id="rId37" Type="http://schemas.openxmlformats.org/officeDocument/2006/relationships/slideLayout" Target="../slideLayouts/slideLayout154.xml"/><Relationship Id="rId40" Type="http://schemas.openxmlformats.org/officeDocument/2006/relationships/theme" Target="../theme/theme4.xml"/><Relationship Id="rId5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2.xml"/><Relationship Id="rId23" Type="http://schemas.openxmlformats.org/officeDocument/2006/relationships/slideLayout" Target="../slideLayouts/slideLayout140.xml"/><Relationship Id="rId28" Type="http://schemas.openxmlformats.org/officeDocument/2006/relationships/slideLayout" Target="../slideLayouts/slideLayout145.xml"/><Relationship Id="rId36" Type="http://schemas.openxmlformats.org/officeDocument/2006/relationships/slideLayout" Target="../slideLayouts/slideLayout153.xml"/><Relationship Id="rId10" Type="http://schemas.openxmlformats.org/officeDocument/2006/relationships/slideLayout" Target="../slideLayouts/slideLayout127.xml"/><Relationship Id="rId19" Type="http://schemas.openxmlformats.org/officeDocument/2006/relationships/slideLayout" Target="../slideLayouts/slideLayout136.xml"/><Relationship Id="rId31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Relationship Id="rId22" Type="http://schemas.openxmlformats.org/officeDocument/2006/relationships/slideLayout" Target="../slideLayouts/slideLayout139.xml"/><Relationship Id="rId27" Type="http://schemas.openxmlformats.org/officeDocument/2006/relationships/slideLayout" Target="../slideLayouts/slideLayout144.xml"/><Relationship Id="rId30" Type="http://schemas.openxmlformats.org/officeDocument/2006/relationships/slideLayout" Target="../slideLayouts/slideLayout147.xml"/><Relationship Id="rId35" Type="http://schemas.openxmlformats.org/officeDocument/2006/relationships/slideLayout" Target="../slideLayouts/slideLayout1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26" Type="http://schemas.openxmlformats.org/officeDocument/2006/relationships/slideLayout" Target="../slideLayouts/slideLayout182.xml"/><Relationship Id="rId39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59.xml"/><Relationship Id="rId21" Type="http://schemas.openxmlformats.org/officeDocument/2006/relationships/slideLayout" Target="../slideLayouts/slideLayout177.xml"/><Relationship Id="rId34" Type="http://schemas.openxmlformats.org/officeDocument/2006/relationships/slideLayout" Target="../slideLayouts/slideLayout190.xml"/><Relationship Id="rId42" Type="http://schemas.openxmlformats.org/officeDocument/2006/relationships/image" Target="../media/image1.png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5" Type="http://schemas.openxmlformats.org/officeDocument/2006/relationships/slideLayout" Target="../slideLayouts/slideLayout181.xml"/><Relationship Id="rId33" Type="http://schemas.openxmlformats.org/officeDocument/2006/relationships/slideLayout" Target="../slideLayouts/slideLayout189.xml"/><Relationship Id="rId38" Type="http://schemas.openxmlformats.org/officeDocument/2006/relationships/slideLayout" Target="../slideLayouts/slideLayout194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29" Type="http://schemas.openxmlformats.org/officeDocument/2006/relationships/slideLayout" Target="../slideLayouts/slideLayout185.xml"/><Relationship Id="rId41" Type="http://schemas.openxmlformats.org/officeDocument/2006/relationships/tags" Target="../tags/tag155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slideLayout" Target="../slideLayouts/slideLayout180.xml"/><Relationship Id="rId32" Type="http://schemas.openxmlformats.org/officeDocument/2006/relationships/slideLayout" Target="../slideLayouts/slideLayout188.xml"/><Relationship Id="rId37" Type="http://schemas.openxmlformats.org/officeDocument/2006/relationships/slideLayout" Target="../slideLayouts/slideLayout193.xml"/><Relationship Id="rId40" Type="http://schemas.openxmlformats.org/officeDocument/2006/relationships/theme" Target="../theme/theme5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slideLayout" Target="../slideLayouts/slideLayout179.xml"/><Relationship Id="rId28" Type="http://schemas.openxmlformats.org/officeDocument/2006/relationships/slideLayout" Target="../slideLayouts/slideLayout184.xml"/><Relationship Id="rId36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31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slideLayout" Target="../slideLayouts/slideLayout178.xml"/><Relationship Id="rId27" Type="http://schemas.openxmlformats.org/officeDocument/2006/relationships/slideLayout" Target="../slideLayouts/slideLayout183.xml"/><Relationship Id="rId30" Type="http://schemas.openxmlformats.org/officeDocument/2006/relationships/slideLayout" Target="../slideLayouts/slideLayout186.xml"/><Relationship Id="rId35" Type="http://schemas.openxmlformats.org/officeDocument/2006/relationships/slideLayout" Target="../slideLayouts/slideLayout19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8.xml"/><Relationship Id="rId18" Type="http://schemas.openxmlformats.org/officeDocument/2006/relationships/slideLayout" Target="../slideLayouts/slideLayout213.xml"/><Relationship Id="rId26" Type="http://schemas.openxmlformats.org/officeDocument/2006/relationships/slideLayout" Target="../slideLayouts/slideLayout221.xml"/><Relationship Id="rId39" Type="http://schemas.openxmlformats.org/officeDocument/2006/relationships/tags" Target="../tags/tag194.xml"/><Relationship Id="rId3" Type="http://schemas.openxmlformats.org/officeDocument/2006/relationships/slideLayout" Target="../slideLayouts/slideLayout198.xml"/><Relationship Id="rId21" Type="http://schemas.openxmlformats.org/officeDocument/2006/relationships/slideLayout" Target="../slideLayouts/slideLayout216.xml"/><Relationship Id="rId34" Type="http://schemas.openxmlformats.org/officeDocument/2006/relationships/slideLayout" Target="../slideLayouts/slideLayout229.xml"/><Relationship Id="rId42" Type="http://schemas.openxmlformats.org/officeDocument/2006/relationships/image" Target="../media/image4.png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slideLayout" Target="../slideLayouts/slideLayout212.xml"/><Relationship Id="rId25" Type="http://schemas.openxmlformats.org/officeDocument/2006/relationships/slideLayout" Target="../slideLayouts/slideLayout220.xml"/><Relationship Id="rId33" Type="http://schemas.openxmlformats.org/officeDocument/2006/relationships/slideLayout" Target="../slideLayouts/slideLayout228.xml"/><Relationship Id="rId38" Type="http://schemas.openxmlformats.org/officeDocument/2006/relationships/theme" Target="../theme/theme6.xml"/><Relationship Id="rId2" Type="http://schemas.openxmlformats.org/officeDocument/2006/relationships/slideLayout" Target="../slideLayouts/slideLayout197.xml"/><Relationship Id="rId16" Type="http://schemas.openxmlformats.org/officeDocument/2006/relationships/slideLayout" Target="../slideLayouts/slideLayout211.xml"/><Relationship Id="rId20" Type="http://schemas.openxmlformats.org/officeDocument/2006/relationships/slideLayout" Target="../slideLayouts/slideLayout215.xml"/><Relationship Id="rId29" Type="http://schemas.openxmlformats.org/officeDocument/2006/relationships/slideLayout" Target="../slideLayouts/slideLayout224.xml"/><Relationship Id="rId41" Type="http://schemas.openxmlformats.org/officeDocument/2006/relationships/image" Target="../media/image3.png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24" Type="http://schemas.openxmlformats.org/officeDocument/2006/relationships/slideLayout" Target="../slideLayouts/slideLayout219.xml"/><Relationship Id="rId32" Type="http://schemas.openxmlformats.org/officeDocument/2006/relationships/slideLayout" Target="../slideLayouts/slideLayout227.xml"/><Relationship Id="rId37" Type="http://schemas.openxmlformats.org/officeDocument/2006/relationships/slideLayout" Target="../slideLayouts/slideLayout232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23" Type="http://schemas.openxmlformats.org/officeDocument/2006/relationships/slideLayout" Target="../slideLayouts/slideLayout218.xml"/><Relationship Id="rId28" Type="http://schemas.openxmlformats.org/officeDocument/2006/relationships/slideLayout" Target="../slideLayouts/slideLayout223.xml"/><Relationship Id="rId36" Type="http://schemas.openxmlformats.org/officeDocument/2006/relationships/slideLayout" Target="../slideLayouts/slideLayout231.xml"/><Relationship Id="rId10" Type="http://schemas.openxmlformats.org/officeDocument/2006/relationships/slideLayout" Target="../slideLayouts/slideLayout205.xml"/><Relationship Id="rId19" Type="http://schemas.openxmlformats.org/officeDocument/2006/relationships/slideLayout" Target="../slideLayouts/slideLayout214.xml"/><Relationship Id="rId31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Relationship Id="rId22" Type="http://schemas.openxmlformats.org/officeDocument/2006/relationships/slideLayout" Target="../slideLayouts/slideLayout217.xml"/><Relationship Id="rId27" Type="http://schemas.openxmlformats.org/officeDocument/2006/relationships/slideLayout" Target="../slideLayouts/slideLayout222.xml"/><Relationship Id="rId30" Type="http://schemas.openxmlformats.org/officeDocument/2006/relationships/slideLayout" Target="../slideLayouts/slideLayout225.xml"/><Relationship Id="rId35" Type="http://schemas.openxmlformats.org/officeDocument/2006/relationships/slideLayout" Target="../slideLayouts/slideLayout2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713179"/>
            <a:ext cx="10972800" cy="42018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  <p:sp>
        <p:nvSpPr>
          <p:cNvPr id="9219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09599" y="378458"/>
            <a:ext cx="10141527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>
                <a:sym typeface="Arial" pitchFamily="-65" charset="0"/>
              </a:rPr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9E739D-BE3C-AA46-B87C-E06818EA43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312" y="621971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F8F2B-0A3A-4A39-B796-DF3AEB40E9C8}"/>
              </a:ext>
            </a:extLst>
          </p:cNvPr>
          <p:cNvSpPr txBox="1"/>
          <p:nvPr userDrawn="1"/>
        </p:nvSpPr>
        <p:spPr>
          <a:xfrm>
            <a:off x="6096000" y="6309921"/>
            <a:ext cx="54864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1">
                <a:solidFill>
                  <a:schemeClr val="tx2"/>
                </a:solidFill>
                <a:latin typeface="+mn-lt"/>
              </a:rPr>
              <a:t>FUNCTION NAME</a:t>
            </a:r>
          </a:p>
        </p:txBody>
      </p:sp>
      <p:pic>
        <p:nvPicPr>
          <p:cNvPr id="9" name="Picture 8" descr="A drawing of a face&#10;&#10;Description automatically generated">
            <a:extLst>
              <a:ext uri="{FF2B5EF4-FFF2-40B4-BE49-F238E27FC236}">
                <a16:creationId xmlns:a16="http://schemas.microsoft.com/office/drawing/2014/main" id="{3FB69CAF-4ED2-45C4-A9F8-3461D4259C8F}"/>
              </a:ext>
            </a:extLst>
          </p:cNvPr>
          <p:cNvPicPr>
            <a:picLocks noChangeAspect="1"/>
          </p:cNvPicPr>
          <p:nvPr userDrawn="1"/>
        </p:nvPicPr>
        <p:blipFill>
          <a:blip r:embed="rId40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</p:spTree>
    <p:custDataLst>
      <p:tags r:id="rId39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700" r:id="rId2"/>
    <p:sldLayoutId id="2147483701" r:id="rId3"/>
    <p:sldLayoutId id="2147483704" r:id="rId4"/>
    <p:sldLayoutId id="2147483686" r:id="rId5"/>
    <p:sldLayoutId id="2147483684" r:id="rId6"/>
    <p:sldLayoutId id="2147483693" r:id="rId7"/>
    <p:sldLayoutId id="2147483694" r:id="rId8"/>
    <p:sldLayoutId id="2147483695" r:id="rId9"/>
    <p:sldLayoutId id="2147483690" r:id="rId10"/>
    <p:sldLayoutId id="2147483696" r:id="rId11"/>
    <p:sldLayoutId id="2147483692" r:id="rId12"/>
    <p:sldLayoutId id="2147483663" r:id="rId13"/>
    <p:sldLayoutId id="2147483666" r:id="rId14"/>
    <p:sldLayoutId id="2147483706" r:id="rId15"/>
    <p:sldLayoutId id="2147483688" r:id="rId16"/>
    <p:sldLayoutId id="2147483665" r:id="rId17"/>
    <p:sldLayoutId id="2147483670" r:id="rId18"/>
    <p:sldLayoutId id="2147483680" r:id="rId19"/>
    <p:sldLayoutId id="2147483671" r:id="rId20"/>
    <p:sldLayoutId id="2147483672" r:id="rId21"/>
    <p:sldLayoutId id="2147483675" r:id="rId22"/>
    <p:sldLayoutId id="2147483705" r:id="rId23"/>
    <p:sldLayoutId id="2147483673" r:id="rId24"/>
    <p:sldLayoutId id="2147483674" r:id="rId25"/>
    <p:sldLayoutId id="2147483708" r:id="rId26"/>
    <p:sldLayoutId id="2147483685" r:id="rId27"/>
    <p:sldLayoutId id="2147483707" r:id="rId28"/>
    <p:sldLayoutId id="2147483702" r:id="rId29"/>
    <p:sldLayoutId id="2147483703" r:id="rId30"/>
    <p:sldLayoutId id="2147483667" r:id="rId31"/>
    <p:sldLayoutId id="2147483677" r:id="rId32"/>
    <p:sldLayoutId id="2147483676" r:id="rId33"/>
    <p:sldLayoutId id="2147483699" r:id="rId34"/>
    <p:sldLayoutId id="2147483697" r:id="rId35"/>
    <p:sldLayoutId id="2147483698" r:id="rId36"/>
    <p:sldLayoutId id="2147483678" r:id="rId37"/>
  </p:sldLayoutIdLst>
  <p:transition>
    <p:fade/>
  </p:transition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000" b="1" baseline="0">
          <a:solidFill>
            <a:schemeClr val="tx1"/>
          </a:solidFill>
          <a:latin typeface="+mj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2pPr>
      <a:lvl3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3pPr>
      <a:lvl4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4pPr>
      <a:lvl5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288036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6pPr>
      <a:lvl7pPr marL="576072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7pPr>
      <a:lvl8pPr marL="864108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8pPr>
      <a:lvl9pPr marL="1152144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9pPr>
    </p:titleStyle>
    <p:bodyStyle>
      <a:lvl1pPr marL="228600" indent="-228600" algn="l" rtl="0" eaLnBrk="1" fontAlgn="base" hangingPunct="1">
        <a:lnSpc>
          <a:spcPct val="100000"/>
        </a:lnSpc>
        <a:spcBef>
          <a:spcPts val="180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25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marL="457200" indent="-2286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20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2pPr>
      <a:lvl3pPr marL="731520" indent="-20116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18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3pPr>
      <a:lvl4pPr marL="1097280" indent="-20116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15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4pPr>
      <a:lvl5pPr marL="1487964" indent="-191135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»"/>
        <a:defRPr sz="13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1776223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6pPr>
      <a:lvl7pPr marL="2064259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7pPr>
      <a:lvl8pPr marL="2352295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8pPr>
      <a:lvl9pPr marL="2640331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9pPr>
    </p:bodyStyle>
    <p:otherStyle>
      <a:defPPr>
        <a:defRPr lang="en-US"/>
      </a:defPPr>
      <a:lvl1pPr marL="0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36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72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64108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144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40180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728216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016252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304288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26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79" userDrawn="1">
          <p15:clr>
            <a:srgbClr val="F26B43"/>
          </p15:clr>
        </p15:guide>
        <p15:guide id="4" orient="horz" pos="3954" userDrawn="1">
          <p15:clr>
            <a:srgbClr val="F26B43"/>
          </p15:clr>
        </p15:guide>
        <p15:guide id="5" orient="horz" pos="4044" userDrawn="1">
          <p15:clr>
            <a:srgbClr val="F26B43"/>
          </p15:clr>
        </p15:guide>
        <p15:guide id="6" pos="384" userDrawn="1">
          <p15:clr>
            <a:srgbClr val="F26B43"/>
          </p15:clr>
        </p15:guide>
        <p15:guide id="7" pos="72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713179"/>
            <a:ext cx="10972800" cy="42018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  <p:sp>
        <p:nvSpPr>
          <p:cNvPr id="9219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09599" y="378458"/>
            <a:ext cx="10141527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>
                <a:sym typeface="Arial" pitchFamily="-65" charset="0"/>
              </a:rPr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9E739D-BE3C-AA46-B87C-E06818EA43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312" y="621971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F8F2B-0A3A-4A39-B796-DF3AEB40E9C8}"/>
              </a:ext>
            </a:extLst>
          </p:cNvPr>
          <p:cNvSpPr txBox="1"/>
          <p:nvPr userDrawn="1"/>
        </p:nvSpPr>
        <p:spPr>
          <a:xfrm>
            <a:off x="6096000" y="6309921"/>
            <a:ext cx="54864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1">
                <a:solidFill>
                  <a:schemeClr val="tx2"/>
                </a:solidFill>
                <a:latin typeface="+mn-lt"/>
              </a:rPr>
              <a:t>GLOBAL SERVICES</a:t>
            </a:r>
          </a:p>
        </p:txBody>
      </p:sp>
      <p:pic>
        <p:nvPicPr>
          <p:cNvPr id="9" name="Picture 8" descr="A drawing of a face&#10;&#10;Description automatically generated">
            <a:extLst>
              <a:ext uri="{FF2B5EF4-FFF2-40B4-BE49-F238E27FC236}">
                <a16:creationId xmlns:a16="http://schemas.microsoft.com/office/drawing/2014/main" id="{3FB69CAF-4ED2-45C4-A9F8-3461D4259C8F}"/>
              </a:ext>
            </a:extLst>
          </p:cNvPr>
          <p:cNvPicPr>
            <a:picLocks noChangeAspect="1"/>
          </p:cNvPicPr>
          <p:nvPr userDrawn="1"/>
        </p:nvPicPr>
        <p:blipFill>
          <a:blip r:embed="rId43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E0BA86D-5510-9D49-A049-BA0AC3C8AC14}"/>
              </a:ext>
            </a:extLst>
          </p:cNvPr>
          <p:cNvSpPr txBox="1"/>
          <p:nvPr userDrawn="1"/>
        </p:nvSpPr>
        <p:spPr>
          <a:xfrm>
            <a:off x="2045616" y="6317154"/>
            <a:ext cx="82955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dirty="0">
                <a:solidFill>
                  <a:schemeClr val="tx2"/>
                </a:solidFill>
              </a:rPr>
              <a:t>Confidential – For Discussion Purposes Only: The information contained herein is for discussion only and does not reflect any final decisions.</a:t>
            </a:r>
          </a:p>
        </p:txBody>
      </p:sp>
    </p:spTree>
    <p:custDataLst>
      <p:tags r:id="rId42"/>
    </p:custDataLst>
    <p:extLst>
      <p:ext uri="{BB962C8B-B14F-4D97-AF65-F5344CB8AC3E}">
        <p14:creationId xmlns:p14="http://schemas.microsoft.com/office/powerpoint/2010/main" val="2543470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2" r:id="rId40"/>
  </p:sldLayoutIdLst>
  <p:transition>
    <p:fade/>
  </p:transition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000" b="1" baseline="0">
          <a:solidFill>
            <a:schemeClr val="tx1"/>
          </a:solidFill>
          <a:latin typeface="+mj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2pPr>
      <a:lvl3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3pPr>
      <a:lvl4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4pPr>
      <a:lvl5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288036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6pPr>
      <a:lvl7pPr marL="576072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7pPr>
      <a:lvl8pPr marL="864108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8pPr>
      <a:lvl9pPr marL="1152144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9pPr>
    </p:titleStyle>
    <p:bodyStyle>
      <a:lvl1pPr marL="228600" indent="-228600" algn="l" rtl="0" eaLnBrk="1" fontAlgn="base" hangingPunct="1">
        <a:lnSpc>
          <a:spcPct val="100000"/>
        </a:lnSpc>
        <a:spcBef>
          <a:spcPts val="180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25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marL="457200" indent="-2286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20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2pPr>
      <a:lvl3pPr marL="731520" indent="-20116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18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3pPr>
      <a:lvl4pPr marL="1097280" indent="-20116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15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4pPr>
      <a:lvl5pPr marL="1487964" indent="-191135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»"/>
        <a:defRPr sz="13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1776223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6pPr>
      <a:lvl7pPr marL="2064259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7pPr>
      <a:lvl8pPr marL="2352295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8pPr>
      <a:lvl9pPr marL="2640331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9pPr>
    </p:bodyStyle>
    <p:otherStyle>
      <a:defPPr>
        <a:defRPr lang="en-US"/>
      </a:defPPr>
      <a:lvl1pPr marL="0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36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72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64108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144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40180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728216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016252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304288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26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879">
          <p15:clr>
            <a:srgbClr val="F26B43"/>
          </p15:clr>
        </p15:guide>
        <p15:guide id="4" orient="horz" pos="3954">
          <p15:clr>
            <a:srgbClr val="F26B43"/>
          </p15:clr>
        </p15:guide>
        <p15:guide id="5" orient="horz" pos="4044">
          <p15:clr>
            <a:srgbClr val="F26B43"/>
          </p15:clr>
        </p15:guide>
        <p15:guide id="6" pos="384">
          <p15:clr>
            <a:srgbClr val="F26B43"/>
          </p15:clr>
        </p15:guide>
        <p15:guide id="7" pos="729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713179"/>
            <a:ext cx="10972800" cy="42018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  <p:sp>
        <p:nvSpPr>
          <p:cNvPr id="9219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09599" y="378458"/>
            <a:ext cx="10141527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>
                <a:sym typeface="Arial" pitchFamily="-65" charset="0"/>
              </a:rPr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9E739D-BE3C-AA46-B87C-E06818EA43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312" y="621971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F8F2B-0A3A-4A39-B796-DF3AEB40E9C8}"/>
              </a:ext>
            </a:extLst>
          </p:cNvPr>
          <p:cNvSpPr txBox="1"/>
          <p:nvPr userDrawn="1"/>
        </p:nvSpPr>
        <p:spPr>
          <a:xfrm>
            <a:off x="6096000" y="6309921"/>
            <a:ext cx="54864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1">
                <a:solidFill>
                  <a:schemeClr val="tx2"/>
                </a:solidFill>
                <a:latin typeface="+mn-lt"/>
              </a:rPr>
              <a:t>GLOBAL SERVICES</a:t>
            </a:r>
          </a:p>
        </p:txBody>
      </p:sp>
      <p:pic>
        <p:nvPicPr>
          <p:cNvPr id="9" name="Picture 8" descr="A drawing of a face&#10;&#10;Description automatically generated">
            <a:extLst>
              <a:ext uri="{FF2B5EF4-FFF2-40B4-BE49-F238E27FC236}">
                <a16:creationId xmlns:a16="http://schemas.microsoft.com/office/drawing/2014/main" id="{3FB69CAF-4ED2-45C4-A9F8-3461D4259C8F}"/>
              </a:ext>
            </a:extLst>
          </p:cNvPr>
          <p:cNvPicPr>
            <a:picLocks noChangeAspect="1"/>
          </p:cNvPicPr>
          <p:nvPr userDrawn="1"/>
        </p:nvPicPr>
        <p:blipFill>
          <a:blip r:embed="rId43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</p:spTree>
    <p:custDataLst>
      <p:tags r:id="rId42"/>
    </p:custDataLst>
    <p:extLst>
      <p:ext uri="{BB962C8B-B14F-4D97-AF65-F5344CB8AC3E}">
        <p14:creationId xmlns:p14="http://schemas.microsoft.com/office/powerpoint/2010/main" val="2057162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  <p:sldLayoutId id="2147483778" r:id="rId25"/>
    <p:sldLayoutId id="2147483779" r:id="rId26"/>
    <p:sldLayoutId id="2147483780" r:id="rId27"/>
    <p:sldLayoutId id="2147483781" r:id="rId28"/>
    <p:sldLayoutId id="2147483782" r:id="rId29"/>
    <p:sldLayoutId id="2147483783" r:id="rId30"/>
    <p:sldLayoutId id="2147483784" r:id="rId31"/>
    <p:sldLayoutId id="2147483785" r:id="rId32"/>
    <p:sldLayoutId id="2147483786" r:id="rId33"/>
    <p:sldLayoutId id="2147483787" r:id="rId34"/>
    <p:sldLayoutId id="2147483788" r:id="rId35"/>
    <p:sldLayoutId id="2147483789" r:id="rId36"/>
    <p:sldLayoutId id="2147483790" r:id="rId37"/>
    <p:sldLayoutId id="2147483791" r:id="rId38"/>
    <p:sldLayoutId id="2147483792" r:id="rId39"/>
    <p:sldLayoutId id="2147483795" r:id="rId40"/>
  </p:sldLayoutIdLst>
  <p:transition>
    <p:fade/>
  </p:transition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000" b="1" baseline="0">
          <a:solidFill>
            <a:schemeClr val="tx1"/>
          </a:solidFill>
          <a:latin typeface="+mj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2pPr>
      <a:lvl3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3pPr>
      <a:lvl4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4pPr>
      <a:lvl5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288036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6pPr>
      <a:lvl7pPr marL="576072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7pPr>
      <a:lvl8pPr marL="864108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8pPr>
      <a:lvl9pPr marL="1152144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9pPr>
    </p:titleStyle>
    <p:bodyStyle>
      <a:lvl1pPr marL="228600" indent="-228600" algn="l" rtl="0" eaLnBrk="1" fontAlgn="base" hangingPunct="1">
        <a:lnSpc>
          <a:spcPct val="100000"/>
        </a:lnSpc>
        <a:spcBef>
          <a:spcPts val="180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25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marL="457200" indent="-2286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20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2pPr>
      <a:lvl3pPr marL="731520" indent="-20116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18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3pPr>
      <a:lvl4pPr marL="1097280" indent="-20116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15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4pPr>
      <a:lvl5pPr marL="1487964" indent="-191135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»"/>
        <a:defRPr sz="13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1776223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6pPr>
      <a:lvl7pPr marL="2064259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7pPr>
      <a:lvl8pPr marL="2352295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8pPr>
      <a:lvl9pPr marL="2640331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9pPr>
    </p:bodyStyle>
    <p:otherStyle>
      <a:defPPr>
        <a:defRPr lang="en-US"/>
      </a:defPPr>
      <a:lvl1pPr marL="0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36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72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64108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144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40180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728216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016252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304288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26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879">
          <p15:clr>
            <a:srgbClr val="F26B43"/>
          </p15:clr>
        </p15:guide>
        <p15:guide id="4" orient="horz" pos="3954">
          <p15:clr>
            <a:srgbClr val="F26B43"/>
          </p15:clr>
        </p15:guide>
        <p15:guide id="5" orient="horz" pos="4044">
          <p15:clr>
            <a:srgbClr val="F26B43"/>
          </p15:clr>
        </p15:guide>
        <p15:guide id="6" pos="384">
          <p15:clr>
            <a:srgbClr val="F26B43"/>
          </p15:clr>
        </p15:guide>
        <p15:guide id="7" pos="729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713180"/>
            <a:ext cx="10972800" cy="42018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>
                <a:sym typeface="Arial" pitchFamily="-65" charset="0"/>
              </a:rPr>
              <a:t>Edit Master text styles</a:t>
            </a:r>
          </a:p>
          <a:p>
            <a:pPr lvl="1"/>
            <a:r>
              <a:rPr lang="en-US" dirty="0">
                <a:sym typeface="Arial" pitchFamily="-65" charset="0"/>
              </a:rPr>
              <a:t>Second level</a:t>
            </a:r>
          </a:p>
          <a:p>
            <a:pPr lvl="2"/>
            <a:r>
              <a:rPr lang="en-US" dirty="0">
                <a:sym typeface="Arial" pitchFamily="-65" charset="0"/>
              </a:rPr>
              <a:t>Third level</a:t>
            </a:r>
          </a:p>
          <a:p>
            <a:pPr lvl="3"/>
            <a:r>
              <a:rPr lang="en-US" dirty="0">
                <a:sym typeface="Arial" pitchFamily="-65" charset="0"/>
              </a:rPr>
              <a:t>Fourth level</a:t>
            </a:r>
          </a:p>
          <a:p>
            <a:pPr lvl="4"/>
            <a:r>
              <a:rPr lang="en-US" dirty="0">
                <a:sym typeface="Arial" pitchFamily="-65" charset="0"/>
              </a:rPr>
              <a:t>Fifth level</a:t>
            </a:r>
          </a:p>
        </p:txBody>
      </p:sp>
      <p:sp>
        <p:nvSpPr>
          <p:cNvPr id="9219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378458"/>
            <a:ext cx="10141527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>
                <a:sym typeface="Arial" pitchFamily="-65" charset="0"/>
              </a:rPr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9E739D-BE3C-AA46-B87C-E06818EA43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312" y="6219718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F8F2B-0A3A-4A39-B796-DF3AEB40E9C8}"/>
              </a:ext>
            </a:extLst>
          </p:cNvPr>
          <p:cNvSpPr txBox="1"/>
          <p:nvPr userDrawn="1"/>
        </p:nvSpPr>
        <p:spPr>
          <a:xfrm>
            <a:off x="6096000" y="6309922"/>
            <a:ext cx="54864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1" dirty="0">
                <a:solidFill>
                  <a:schemeClr val="tx2"/>
                </a:solidFill>
                <a:latin typeface="+mn-lt"/>
              </a:rPr>
              <a:t>Global Content Strategy</a:t>
            </a:r>
          </a:p>
        </p:txBody>
      </p:sp>
      <p:pic>
        <p:nvPicPr>
          <p:cNvPr id="9" name="Picture 8" descr="A drawing of a face&#10;&#10;Description automatically generated">
            <a:extLst>
              <a:ext uri="{FF2B5EF4-FFF2-40B4-BE49-F238E27FC236}">
                <a16:creationId xmlns:a16="http://schemas.microsoft.com/office/drawing/2014/main" id="{3FB69CAF-4ED2-45C4-A9F8-3461D4259C8F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488706" y="6160294"/>
            <a:ext cx="1528000" cy="476703"/>
          </a:xfrm>
          <a:prstGeom prst="rect">
            <a:avLst/>
          </a:prstGeom>
        </p:spPr>
      </p:pic>
    </p:spTree>
    <p:custDataLst>
      <p:tags r:id="rId41"/>
    </p:custDataLst>
    <p:extLst>
      <p:ext uri="{BB962C8B-B14F-4D97-AF65-F5344CB8AC3E}">
        <p14:creationId xmlns:p14="http://schemas.microsoft.com/office/powerpoint/2010/main" val="3110606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6" r:id="rId20"/>
    <p:sldLayoutId id="2147483817" r:id="rId21"/>
    <p:sldLayoutId id="2147483818" r:id="rId22"/>
    <p:sldLayoutId id="2147483819" r:id="rId23"/>
    <p:sldLayoutId id="2147483820" r:id="rId24"/>
    <p:sldLayoutId id="2147483821" r:id="rId25"/>
    <p:sldLayoutId id="2147483822" r:id="rId26"/>
    <p:sldLayoutId id="2147483823" r:id="rId27"/>
    <p:sldLayoutId id="2147483824" r:id="rId28"/>
    <p:sldLayoutId id="2147483825" r:id="rId29"/>
    <p:sldLayoutId id="2147483826" r:id="rId30"/>
    <p:sldLayoutId id="2147483827" r:id="rId31"/>
    <p:sldLayoutId id="2147483828" r:id="rId32"/>
    <p:sldLayoutId id="2147483829" r:id="rId33"/>
    <p:sldLayoutId id="2147483830" r:id="rId34"/>
    <p:sldLayoutId id="2147483831" r:id="rId35"/>
    <p:sldLayoutId id="2147483832" r:id="rId36"/>
    <p:sldLayoutId id="2147483833" r:id="rId37"/>
    <p:sldLayoutId id="2147483834" r:id="rId38"/>
    <p:sldLayoutId id="2147483836" r:id="rId39"/>
  </p:sldLayoutIdLst>
  <p:transition>
    <p:fade/>
  </p:transition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000" b="1" baseline="0">
          <a:solidFill>
            <a:schemeClr val="tx1"/>
          </a:solidFill>
          <a:latin typeface="+mj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2pPr>
      <a:lvl3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3pPr>
      <a:lvl4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4pPr>
      <a:lvl5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288024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6pPr>
      <a:lvl7pPr marL="576049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7pPr>
      <a:lvl8pPr marL="864074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8pPr>
      <a:lvl9pPr marL="1152098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9pPr>
    </p:titleStyle>
    <p:bodyStyle>
      <a:lvl1pPr marL="228591" indent="-228591" algn="l" rtl="0" eaLnBrk="1" fontAlgn="base" hangingPunct="1">
        <a:lnSpc>
          <a:spcPct val="100000"/>
        </a:lnSpc>
        <a:spcBef>
          <a:spcPts val="180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25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marL="457182" indent="-228591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20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2pPr>
      <a:lvl3pPr marL="731491" indent="-20116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18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3pPr>
      <a:lvl4pPr marL="1097236" indent="-20116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15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4pPr>
      <a:lvl5pPr marL="1487905" indent="-191127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»"/>
        <a:defRPr sz="13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1776152" indent="-192016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6pPr>
      <a:lvl7pPr marL="2064177" indent="-192016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7pPr>
      <a:lvl8pPr marL="2352201" indent="-192016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8pPr>
      <a:lvl9pPr marL="2640225" indent="-192016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9pPr>
    </p:bodyStyle>
    <p:otherStyle>
      <a:defPPr>
        <a:defRPr lang="en-US"/>
      </a:defPPr>
      <a:lvl1pPr marL="0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24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49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74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98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40122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728147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016171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304196" algn="l" defTabSz="288024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26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879">
          <p15:clr>
            <a:srgbClr val="F26B43"/>
          </p15:clr>
        </p15:guide>
        <p15:guide id="4" orient="horz" pos="3954">
          <p15:clr>
            <a:srgbClr val="F26B43"/>
          </p15:clr>
        </p15:guide>
        <p15:guide id="5" orient="horz" pos="4044">
          <p15:clr>
            <a:srgbClr val="F26B43"/>
          </p15:clr>
        </p15:guide>
        <p15:guide id="6" pos="384">
          <p15:clr>
            <a:srgbClr val="F26B43"/>
          </p15:clr>
        </p15:guide>
        <p15:guide id="7" pos="729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713179"/>
            <a:ext cx="10972800" cy="42018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>
                <a:sym typeface="Arial" pitchFamily="-65" charset="0"/>
              </a:rPr>
              <a:t>Edit Master text styles</a:t>
            </a:r>
          </a:p>
          <a:p>
            <a:pPr lvl="1"/>
            <a:r>
              <a:rPr lang="en-US" dirty="0">
                <a:sym typeface="Arial" pitchFamily="-65" charset="0"/>
              </a:rPr>
              <a:t>Second level</a:t>
            </a:r>
          </a:p>
          <a:p>
            <a:pPr lvl="2"/>
            <a:r>
              <a:rPr lang="en-US" dirty="0">
                <a:sym typeface="Arial" pitchFamily="-65" charset="0"/>
              </a:rPr>
              <a:t>Third level</a:t>
            </a:r>
          </a:p>
          <a:p>
            <a:pPr lvl="3"/>
            <a:r>
              <a:rPr lang="en-US" dirty="0">
                <a:sym typeface="Arial" pitchFamily="-65" charset="0"/>
              </a:rPr>
              <a:t>Fourth level</a:t>
            </a:r>
          </a:p>
          <a:p>
            <a:pPr lvl="4"/>
            <a:r>
              <a:rPr lang="en-US" dirty="0">
                <a:sym typeface="Arial" pitchFamily="-65" charset="0"/>
              </a:rPr>
              <a:t>Fifth level</a:t>
            </a:r>
          </a:p>
        </p:txBody>
      </p:sp>
      <p:sp>
        <p:nvSpPr>
          <p:cNvPr id="9219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09599" y="378458"/>
            <a:ext cx="10141527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>
                <a:sym typeface="Arial" pitchFamily="-65" charset="0"/>
              </a:rPr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9E739D-BE3C-AA46-B87C-E06818EA43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312" y="6219717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F8F2B-0A3A-4A39-B796-DF3AEB40E9C8}"/>
              </a:ext>
            </a:extLst>
          </p:cNvPr>
          <p:cNvSpPr txBox="1"/>
          <p:nvPr userDrawn="1"/>
        </p:nvSpPr>
        <p:spPr>
          <a:xfrm>
            <a:off x="6096000" y="6309921"/>
            <a:ext cx="54864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1" dirty="0">
                <a:solidFill>
                  <a:schemeClr val="tx2"/>
                </a:solidFill>
                <a:latin typeface="+mn-lt"/>
              </a:rPr>
              <a:t>Global Content Strategy</a:t>
            </a:r>
          </a:p>
        </p:txBody>
      </p:sp>
      <p:pic>
        <p:nvPicPr>
          <p:cNvPr id="9" name="Picture 8" descr="A drawing of a face&#10;&#10;Description automatically generated">
            <a:extLst>
              <a:ext uri="{FF2B5EF4-FFF2-40B4-BE49-F238E27FC236}">
                <a16:creationId xmlns:a16="http://schemas.microsoft.com/office/drawing/2014/main" id="{3FB69CAF-4ED2-45C4-A9F8-3461D4259C8F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488706" y="6160293"/>
            <a:ext cx="1528000" cy="476703"/>
          </a:xfrm>
          <a:prstGeom prst="rect">
            <a:avLst/>
          </a:prstGeom>
        </p:spPr>
      </p:pic>
    </p:spTree>
    <p:custDataLst>
      <p:tags r:id="rId41"/>
    </p:custDataLst>
    <p:extLst>
      <p:ext uri="{BB962C8B-B14F-4D97-AF65-F5344CB8AC3E}">
        <p14:creationId xmlns:p14="http://schemas.microsoft.com/office/powerpoint/2010/main" val="712411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  <p:sldLayoutId id="2147483855" r:id="rId18"/>
    <p:sldLayoutId id="2147483856" r:id="rId19"/>
    <p:sldLayoutId id="2147483857" r:id="rId20"/>
    <p:sldLayoutId id="2147483858" r:id="rId21"/>
    <p:sldLayoutId id="2147483859" r:id="rId22"/>
    <p:sldLayoutId id="2147483860" r:id="rId23"/>
    <p:sldLayoutId id="2147483861" r:id="rId24"/>
    <p:sldLayoutId id="2147483862" r:id="rId25"/>
    <p:sldLayoutId id="2147483863" r:id="rId26"/>
    <p:sldLayoutId id="2147483864" r:id="rId27"/>
    <p:sldLayoutId id="2147483865" r:id="rId28"/>
    <p:sldLayoutId id="2147483866" r:id="rId29"/>
    <p:sldLayoutId id="2147483867" r:id="rId30"/>
    <p:sldLayoutId id="2147483868" r:id="rId31"/>
    <p:sldLayoutId id="2147483869" r:id="rId32"/>
    <p:sldLayoutId id="2147483870" r:id="rId33"/>
    <p:sldLayoutId id="2147483871" r:id="rId34"/>
    <p:sldLayoutId id="2147483872" r:id="rId35"/>
    <p:sldLayoutId id="2147483873" r:id="rId36"/>
    <p:sldLayoutId id="2147483874" r:id="rId37"/>
    <p:sldLayoutId id="2147483875" r:id="rId38"/>
    <p:sldLayoutId id="2147483876" r:id="rId39"/>
  </p:sldLayoutIdLst>
  <p:transition>
    <p:fade/>
  </p:transition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000" b="1" baseline="0">
          <a:solidFill>
            <a:schemeClr val="tx1"/>
          </a:solidFill>
          <a:latin typeface="+mj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2pPr>
      <a:lvl3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3pPr>
      <a:lvl4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4pPr>
      <a:lvl5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288036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6pPr>
      <a:lvl7pPr marL="576072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7pPr>
      <a:lvl8pPr marL="864108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8pPr>
      <a:lvl9pPr marL="1152144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9pPr>
    </p:titleStyle>
    <p:bodyStyle>
      <a:lvl1pPr marL="228600" indent="-228600" algn="l" rtl="0" eaLnBrk="1" fontAlgn="base" hangingPunct="1">
        <a:lnSpc>
          <a:spcPct val="100000"/>
        </a:lnSpc>
        <a:spcBef>
          <a:spcPts val="180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25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marL="457200" indent="-2286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20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2pPr>
      <a:lvl3pPr marL="731520" indent="-20116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18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3pPr>
      <a:lvl4pPr marL="1097280" indent="-20116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15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4pPr>
      <a:lvl5pPr marL="1487964" indent="-191135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»"/>
        <a:defRPr sz="13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1776223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6pPr>
      <a:lvl7pPr marL="2064259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7pPr>
      <a:lvl8pPr marL="2352295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8pPr>
      <a:lvl9pPr marL="2640331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9pPr>
    </p:bodyStyle>
    <p:otherStyle>
      <a:defPPr>
        <a:defRPr lang="en-US"/>
      </a:defPPr>
      <a:lvl1pPr marL="0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36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72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64108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144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40180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728216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016252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304288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26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879">
          <p15:clr>
            <a:srgbClr val="F26B43"/>
          </p15:clr>
        </p15:guide>
        <p15:guide id="4" orient="horz" pos="3954">
          <p15:clr>
            <a:srgbClr val="F26B43"/>
          </p15:clr>
        </p15:guide>
        <p15:guide id="5" orient="horz" pos="4044">
          <p15:clr>
            <a:srgbClr val="F26B43"/>
          </p15:clr>
        </p15:guide>
        <p15:guide id="6" pos="384">
          <p15:clr>
            <a:srgbClr val="F26B43"/>
          </p15:clr>
        </p15:guide>
        <p15:guide id="7" pos="729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51939A00-D8A0-119F-20F3-C978259DD9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/>
          <a:srcRect t="10810" b="86063"/>
          <a:stretch/>
        </p:blipFill>
        <p:spPr>
          <a:xfrm>
            <a:off x="-35860" y="6607771"/>
            <a:ext cx="12192000" cy="274270"/>
          </a:xfrm>
          <a:prstGeom prst="rect">
            <a:avLst/>
          </a:prstGeom>
        </p:spPr>
      </p:pic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DA0C785-D88D-8DA5-DDF9-703923B127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/>
          <a:srcRect l="56090" t="90148" r="-1" b="3743"/>
          <a:stretch/>
        </p:blipFill>
        <p:spPr>
          <a:xfrm>
            <a:off x="8792061" y="6610350"/>
            <a:ext cx="3417870" cy="271691"/>
          </a:xfrm>
          <a:prstGeom prst="rect">
            <a:avLst/>
          </a:prstGeom>
        </p:spPr>
      </p:pic>
      <p:sp>
        <p:nvSpPr>
          <p:cNvPr id="922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713179"/>
            <a:ext cx="10972800" cy="42018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>
                <a:sym typeface="Arial" pitchFamily="-65" charset="0"/>
              </a:rPr>
              <a:t>Edit Master text styles</a:t>
            </a:r>
          </a:p>
          <a:p>
            <a:pPr lvl="1"/>
            <a:r>
              <a:rPr lang="en-US">
                <a:sym typeface="Arial" pitchFamily="-65" charset="0"/>
              </a:rPr>
              <a:t>Second level</a:t>
            </a:r>
          </a:p>
          <a:p>
            <a:pPr lvl="2"/>
            <a:r>
              <a:rPr lang="en-US">
                <a:sym typeface="Arial" pitchFamily="-65" charset="0"/>
              </a:rPr>
              <a:t>Third level</a:t>
            </a:r>
          </a:p>
          <a:p>
            <a:pPr lvl="3"/>
            <a:r>
              <a:rPr lang="en-US">
                <a:sym typeface="Arial" pitchFamily="-65" charset="0"/>
              </a:rPr>
              <a:t>Fourth level</a:t>
            </a:r>
          </a:p>
          <a:p>
            <a:pPr lvl="4"/>
            <a:r>
              <a:rPr lang="en-US">
                <a:sym typeface="Arial" pitchFamily="-65" charset="0"/>
              </a:rPr>
              <a:t>Fifth level</a:t>
            </a:r>
          </a:p>
        </p:txBody>
      </p:sp>
      <p:sp>
        <p:nvSpPr>
          <p:cNvPr id="9219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09599" y="378458"/>
            <a:ext cx="10141527" cy="4616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>
                <a:sym typeface="Arial" pitchFamily="-65" charset="0"/>
              </a:rPr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9458881-B2DB-3922-FEC2-C30C43A9B3C6}"/>
              </a:ext>
            </a:extLst>
          </p:cNvPr>
          <p:cNvSpPr txBox="1"/>
          <p:nvPr userDrawn="1"/>
        </p:nvSpPr>
        <p:spPr>
          <a:xfrm>
            <a:off x="6153911" y="6690770"/>
            <a:ext cx="548640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700" b="1">
                <a:solidFill>
                  <a:schemeClr val="bg1"/>
                </a:solidFill>
                <a:latin typeface="J&amp;J Circular Book" panose="020B0604020101020102" pitchFamily="34" charset="77"/>
                <a:cs typeface="J&amp;J Circular Book" panose="020B0604020101020102" pitchFamily="34" charset="77"/>
              </a:rPr>
              <a:t>Global Content Strategy Team</a:t>
            </a:r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5DC69B5-E394-B209-60D4-43EF081F1439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150188" y="6690770"/>
            <a:ext cx="756480" cy="138499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9E739D-BE3C-AA46-B87C-E06818EA43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7702" y="6577943"/>
            <a:ext cx="454400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J&amp;J Circular Book" panose="020B0604020101020102" pitchFamily="34" charset="77"/>
                <a:cs typeface="J&amp;J Circular Book" panose="020B0604020101020102" pitchFamily="34" charset="77"/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39"/>
    </p:custDataLst>
    <p:extLst>
      <p:ext uri="{BB962C8B-B14F-4D97-AF65-F5344CB8AC3E}">
        <p14:creationId xmlns:p14="http://schemas.microsoft.com/office/powerpoint/2010/main" val="3086741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  <p:sldLayoutId id="2147483891" r:id="rId14"/>
    <p:sldLayoutId id="2147483892" r:id="rId15"/>
    <p:sldLayoutId id="2147483893" r:id="rId16"/>
    <p:sldLayoutId id="2147483894" r:id="rId17"/>
    <p:sldLayoutId id="2147483895" r:id="rId18"/>
    <p:sldLayoutId id="2147483896" r:id="rId19"/>
    <p:sldLayoutId id="2147483897" r:id="rId20"/>
    <p:sldLayoutId id="2147483898" r:id="rId21"/>
    <p:sldLayoutId id="2147483899" r:id="rId22"/>
    <p:sldLayoutId id="2147483900" r:id="rId23"/>
    <p:sldLayoutId id="2147483901" r:id="rId24"/>
    <p:sldLayoutId id="2147483902" r:id="rId25"/>
    <p:sldLayoutId id="2147483903" r:id="rId26"/>
    <p:sldLayoutId id="2147483904" r:id="rId27"/>
    <p:sldLayoutId id="2147483905" r:id="rId28"/>
    <p:sldLayoutId id="2147483906" r:id="rId29"/>
    <p:sldLayoutId id="2147483907" r:id="rId30"/>
    <p:sldLayoutId id="2147483908" r:id="rId31"/>
    <p:sldLayoutId id="2147483909" r:id="rId32"/>
    <p:sldLayoutId id="2147483910" r:id="rId33"/>
    <p:sldLayoutId id="2147483911" r:id="rId34"/>
    <p:sldLayoutId id="2147483912" r:id="rId35"/>
    <p:sldLayoutId id="2147483913" r:id="rId36"/>
    <p:sldLayoutId id="2147483914" r:id="rId37"/>
  </p:sldLayoutIdLst>
  <p:transition>
    <p:fade/>
  </p:transition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000" b="1" baseline="0">
          <a:solidFill>
            <a:schemeClr val="tx1"/>
          </a:solidFill>
          <a:latin typeface="+mj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2pPr>
      <a:lvl3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3pPr>
      <a:lvl4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4pPr>
      <a:lvl5pPr algn="l" rtl="0" eaLnBrk="1" fontAlgn="base" hangingPunct="1">
        <a:lnSpc>
          <a:spcPts val="336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111" charset="0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288036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6pPr>
      <a:lvl7pPr marL="576072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7pPr>
      <a:lvl8pPr marL="864108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8pPr>
      <a:lvl9pPr marL="1152144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30617"/>
          </a:solidFill>
          <a:latin typeface="Arial" pitchFamily="-110" charset="0"/>
          <a:ea typeface="ヒラギノ角ゴ ProN W6" pitchFamily="-110" charset="-128"/>
          <a:cs typeface="ヒラギノ角ゴ ProN W6" pitchFamily="-110" charset="-128"/>
          <a:sym typeface="Arial" pitchFamily="-110" charset="0"/>
        </a:defRPr>
      </a:lvl9pPr>
    </p:titleStyle>
    <p:bodyStyle>
      <a:lvl1pPr marL="228600" indent="-228600" algn="l" rtl="0" eaLnBrk="1" fontAlgn="base" hangingPunct="1">
        <a:lnSpc>
          <a:spcPct val="100000"/>
        </a:lnSpc>
        <a:spcBef>
          <a:spcPts val="180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25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1pPr>
      <a:lvl2pPr marL="457200" indent="-2286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20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2pPr>
      <a:lvl3pPr marL="731520" indent="-20116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•"/>
        <a:defRPr sz="18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3pPr>
      <a:lvl4pPr marL="1097280" indent="-20116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–"/>
        <a:defRPr sz="15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4pPr>
      <a:lvl5pPr marL="1487964" indent="-191135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63666A"/>
        </a:buClr>
        <a:buSzPct val="100000"/>
        <a:buFont typeface="Arial" pitchFamily="-65" charset="0"/>
        <a:buChar char="»"/>
        <a:defRPr sz="1300">
          <a:solidFill>
            <a:schemeClr val="tx2"/>
          </a:solidFill>
          <a:latin typeface="+mn-lt"/>
          <a:ea typeface="Arial Unicode MS" pitchFamily="-65" charset="0"/>
          <a:cs typeface="Arial Unicode MS" pitchFamily="-65" charset="0"/>
          <a:sym typeface="Arial" pitchFamily="-65" charset="0"/>
        </a:defRPr>
      </a:lvl5pPr>
      <a:lvl6pPr marL="1776223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6pPr>
      <a:lvl7pPr marL="2064259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7pPr>
      <a:lvl8pPr marL="2352295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8pPr>
      <a:lvl9pPr marL="2640331" indent="-192024" algn="l" rtl="0" eaLnBrk="1" fontAlgn="base" hangingPunct="1">
        <a:spcBef>
          <a:spcPts val="379"/>
        </a:spcBef>
        <a:spcAft>
          <a:spcPct val="0"/>
        </a:spcAft>
        <a:buSzPct val="100000"/>
        <a:buFont typeface="Arial" pitchFamily="-110" charset="0"/>
        <a:buChar char="»"/>
        <a:defRPr sz="1700">
          <a:solidFill>
            <a:schemeClr val="tx1"/>
          </a:solidFill>
          <a:latin typeface="+mn-lt"/>
          <a:ea typeface="+mn-ea"/>
          <a:cs typeface="+mn-cs"/>
          <a:sym typeface="Arial" pitchFamily="-110" charset="0"/>
        </a:defRPr>
      </a:lvl9pPr>
    </p:bodyStyle>
    <p:otherStyle>
      <a:defPPr>
        <a:defRPr lang="en-US"/>
      </a:defPPr>
      <a:lvl1pPr marL="0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36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72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64108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144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40180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728216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016252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304288" algn="l" defTabSz="28803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26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879">
          <p15:clr>
            <a:srgbClr val="F26B43"/>
          </p15:clr>
        </p15:guide>
        <p15:guide id="4" orient="horz" pos="3954">
          <p15:clr>
            <a:srgbClr val="F26B43"/>
          </p15:clr>
        </p15:guide>
        <p15:guide id="5" orient="horz" pos="4044">
          <p15:clr>
            <a:srgbClr val="F26B43"/>
          </p15:clr>
        </p15:guide>
        <p15:guide id="6" pos="384">
          <p15:clr>
            <a:srgbClr val="F26B43"/>
          </p15:clr>
        </p15:guide>
        <p15:guide id="7" pos="72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11.xml"/><Relationship Id="rId1" Type="http://schemas.openxmlformats.org/officeDocument/2006/relationships/tags" Target="../tags/tag24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20.xml"/><Relationship Id="rId3" Type="http://schemas.openxmlformats.org/officeDocument/2006/relationships/notesSlide" Target="../notesSlides/notesSlide13.xml"/><Relationship Id="rId7" Type="http://schemas.openxmlformats.org/officeDocument/2006/relationships/slide" Target="slide1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5.xml"/><Relationship Id="rId6" Type="http://schemas.openxmlformats.org/officeDocument/2006/relationships/slide" Target="slide17.xml"/><Relationship Id="rId5" Type="http://schemas.openxmlformats.org/officeDocument/2006/relationships/slide" Target="slide15.xml"/><Relationship Id="rId4" Type="http://schemas.openxmlformats.org/officeDocument/2006/relationships/slide" Target="slide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0.xm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15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46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slide" Target="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47.xml"/><Relationship Id="rId4" Type="http://schemas.openxmlformats.org/officeDocument/2006/relationships/slide" Target="slide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4.png"/><Relationship Id="rId12" Type="http://schemas.openxmlformats.org/officeDocument/2006/relationships/slide" Target="slide13.xml"/><Relationship Id="rId2" Type="http://schemas.openxmlformats.org/officeDocument/2006/relationships/slideLayout" Target="../slideLayouts/slideLayout194.xml"/><Relationship Id="rId1" Type="http://schemas.openxmlformats.org/officeDocument/2006/relationships/tags" Target="../tags/tag248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49.xml"/><Relationship Id="rId5" Type="http://schemas.openxmlformats.org/officeDocument/2006/relationships/slide" Target="slide13.xml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50.xml"/><Relationship Id="rId5" Type="http://schemas.openxmlformats.org/officeDocument/2006/relationships/slide" Target="slide13.xml"/><Relationship Id="rId4" Type="http://schemas.openxmlformats.org/officeDocument/2006/relationships/image" Target="../media/image30.B537F1B0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33.xml"/><Relationship Id="rId4" Type="http://schemas.openxmlformats.org/officeDocument/2006/relationships/image" Target="../media/image5.JPG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notesSlide" Target="../notesSlides/notesSlide20.xml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51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Relationship Id="rId9" Type="http://schemas.openxmlformats.org/officeDocument/2006/relationships/slide" Target="slide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2.xml"/><Relationship Id="rId5" Type="http://schemas.openxmlformats.org/officeDocument/2006/relationships/slide" Target="slide13.xml"/><Relationship Id="rId4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5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25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.xml"/><Relationship Id="rId7" Type="http://schemas.openxmlformats.org/officeDocument/2006/relationships/image" Target="../media/image7.emf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36.xml"/><Relationship Id="rId4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3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4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11.xml"/><Relationship Id="rId1" Type="http://schemas.openxmlformats.org/officeDocument/2006/relationships/tags" Target="../tags/tag24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build a high-performing content team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ike Spenceley</a:t>
            </a:r>
          </a:p>
          <a:p>
            <a:r>
              <a:rPr lang="en-US" dirty="0"/>
              <a:t>Director, Global Content Strategy</a:t>
            </a:r>
          </a:p>
          <a:p>
            <a:r>
              <a:rPr lang="en-US" dirty="0"/>
              <a:t>January 202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850149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outcom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087454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60594" y="2079717"/>
            <a:ext cx="3092753" cy="1969770"/>
          </a:xfrm>
        </p:spPr>
        <p:txBody>
          <a:bodyPr/>
          <a:lstStyle/>
          <a:p>
            <a:r>
              <a:rPr lang="en-US" sz="3200" b="0" dirty="0">
                <a:latin typeface="J&amp;J Circular Book" panose="020B0604020101020102" pitchFamily="34" charset="77"/>
                <a:cs typeface="J&amp;J Circular Book" panose="020B0604020101020102" pitchFamily="34" charset="77"/>
              </a:rPr>
              <a:t>We’ve seen </a:t>
            </a:r>
            <a:r>
              <a:rPr lang="en-US" sz="3200" b="0" dirty="0">
                <a:latin typeface="J&amp;J Circular Bold" panose="020B0604020101020102" pitchFamily="34" charset="77"/>
                <a:cs typeface="J&amp;J Circular Bold" panose="020B0604020101020102" pitchFamily="34" charset="77"/>
              </a:rPr>
              <a:t>improvements </a:t>
            </a:r>
            <a:br>
              <a:rPr lang="en-US" sz="3200" b="0" dirty="0">
                <a:latin typeface="J&amp;J Circular Bold" panose="020B0604020101020102" pitchFamily="34" charset="77"/>
                <a:cs typeface="J&amp;J Circular Bold" panose="020B0604020101020102" pitchFamily="34" charset="77"/>
              </a:rPr>
            </a:br>
            <a:r>
              <a:rPr lang="en-US" sz="3200" b="0" dirty="0">
                <a:latin typeface="J&amp;J Circular Bold" panose="020B0604020101020102" pitchFamily="34" charset="77"/>
                <a:cs typeface="J&amp;J Circular Bold" panose="020B0604020101020102" pitchFamily="34" charset="77"/>
              </a:rPr>
              <a:t>in several key areas</a:t>
            </a:r>
            <a:endParaRPr lang="en-US" sz="3200" b="0" dirty="0">
              <a:solidFill>
                <a:srgbClr val="FF0000"/>
              </a:solidFill>
              <a:latin typeface="J&amp;J Circular Bold" panose="020B0604020101020102" pitchFamily="34" charset="77"/>
              <a:cs typeface="J&amp;J Circular Bold" panose="020B0604020101020102" pitchFamily="34" charset="77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1818F82-F24F-41C8-9926-36D274EBA3A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8102E"/>
                </a:solidFill>
                <a:effectLst/>
                <a:uLnTx/>
                <a:uFillTx/>
                <a:latin typeface="J&amp;J Circular Book" panose="020B0604020101020102" pitchFamily="34" charset="77"/>
              </a:rPr>
              <a:pPr marL="0" marR="0" lvl="0" indent="0" algn="r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8102E"/>
              </a:solidFill>
              <a:effectLst/>
              <a:uLnTx/>
              <a:uFillTx/>
              <a:latin typeface="J&amp;J Circular Book" panose="020B0604020101020102" pitchFamily="34" charset="77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E7A77E8-2E01-19D2-BDC8-2CAD208A8F2B}"/>
              </a:ext>
            </a:extLst>
          </p:cNvPr>
          <p:cNvCxnSpPr>
            <a:cxnSpLocks/>
          </p:cNvCxnSpPr>
          <p:nvPr/>
        </p:nvCxnSpPr>
        <p:spPr>
          <a:xfrm>
            <a:off x="960594" y="4392524"/>
            <a:ext cx="1420993" cy="0"/>
          </a:xfrm>
          <a:prstGeom prst="line">
            <a:avLst/>
          </a:prstGeom>
          <a:ln w="50800" cap="rnd">
            <a:gradFill flip="none" rotWithShape="1">
              <a:gsLst>
                <a:gs pos="5000">
                  <a:schemeClr val="accent1"/>
                </a:gs>
                <a:gs pos="45000">
                  <a:schemeClr val="accent2"/>
                </a:gs>
                <a:gs pos="100000">
                  <a:schemeClr val="accent3"/>
                </a:gs>
              </a:gsLst>
              <a:path path="circle">
                <a:fillToRect r="100000" b="100000"/>
              </a:path>
              <a:tileRect l="-100000" t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reeform: Shape 16">
            <a:extLst>
              <a:ext uri="{FF2B5EF4-FFF2-40B4-BE49-F238E27FC236}">
                <a16:creationId xmlns:a16="http://schemas.microsoft.com/office/drawing/2014/main" id="{EC178FBC-859B-72C4-1113-B45EC14C6DDD}"/>
              </a:ext>
            </a:extLst>
          </p:cNvPr>
          <p:cNvSpPr/>
          <p:nvPr/>
        </p:nvSpPr>
        <p:spPr>
          <a:xfrm>
            <a:off x="4458165" y="-1"/>
            <a:ext cx="7753085" cy="6625481"/>
          </a:xfrm>
          <a:custGeom>
            <a:avLst/>
            <a:gdLst>
              <a:gd name="connsiteX0" fmla="*/ 0 w 1585912"/>
              <a:gd name="connsiteY0" fmla="*/ 0 h 1584007"/>
              <a:gd name="connsiteX1" fmla="*/ 1585913 w 1585912"/>
              <a:gd name="connsiteY1" fmla="*/ 0 h 1584007"/>
              <a:gd name="connsiteX2" fmla="*/ 1585913 w 1585912"/>
              <a:gd name="connsiteY2" fmla="*/ 1584008 h 1584007"/>
              <a:gd name="connsiteX3" fmla="*/ 0 w 1585912"/>
              <a:gd name="connsiteY3" fmla="*/ 1584008 h 1584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5912" h="1584007">
                <a:moveTo>
                  <a:pt x="0" y="0"/>
                </a:moveTo>
                <a:lnTo>
                  <a:pt x="1585913" y="0"/>
                </a:lnTo>
                <a:lnTo>
                  <a:pt x="1585913" y="1584008"/>
                </a:lnTo>
                <a:lnTo>
                  <a:pt x="0" y="1584008"/>
                </a:lnTo>
                <a:close/>
              </a:path>
            </a:pathLst>
          </a:custGeom>
          <a:gradFill>
            <a:gsLst>
              <a:gs pos="100000">
                <a:srgbClr val="1E22AA"/>
              </a:gs>
              <a:gs pos="60000">
                <a:srgbClr val="C800A1"/>
              </a:gs>
              <a:gs pos="5000">
                <a:srgbClr val="C8102E"/>
              </a:gs>
            </a:gsLst>
            <a:path path="circle">
              <a:fillToRect l="100000" t="100000"/>
            </a:path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 pitchFamily="-65" charset="0"/>
            </a:endParaRPr>
          </a:p>
        </p:txBody>
      </p:sp>
      <p:sp>
        <p:nvSpPr>
          <p:cNvPr id="9" name="Freeform: Shape 16">
            <a:extLst>
              <a:ext uri="{FF2B5EF4-FFF2-40B4-BE49-F238E27FC236}">
                <a16:creationId xmlns:a16="http://schemas.microsoft.com/office/drawing/2014/main" id="{93A503DC-2B39-BE7B-C430-C9DAF99E7116}"/>
              </a:ext>
            </a:extLst>
          </p:cNvPr>
          <p:cNvSpPr/>
          <p:nvPr/>
        </p:nvSpPr>
        <p:spPr>
          <a:xfrm>
            <a:off x="4458168" y="0"/>
            <a:ext cx="2586964" cy="6625481"/>
          </a:xfrm>
          <a:custGeom>
            <a:avLst/>
            <a:gdLst>
              <a:gd name="connsiteX0" fmla="*/ 0 w 1585912"/>
              <a:gd name="connsiteY0" fmla="*/ 0 h 1584007"/>
              <a:gd name="connsiteX1" fmla="*/ 1585913 w 1585912"/>
              <a:gd name="connsiteY1" fmla="*/ 0 h 1584007"/>
              <a:gd name="connsiteX2" fmla="*/ 1585913 w 1585912"/>
              <a:gd name="connsiteY2" fmla="*/ 1584008 h 1584007"/>
              <a:gd name="connsiteX3" fmla="*/ 0 w 1585912"/>
              <a:gd name="connsiteY3" fmla="*/ 1584008 h 1584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5912" h="1584007">
                <a:moveTo>
                  <a:pt x="0" y="0"/>
                </a:moveTo>
                <a:lnTo>
                  <a:pt x="1585913" y="0"/>
                </a:lnTo>
                <a:lnTo>
                  <a:pt x="1585913" y="1584008"/>
                </a:lnTo>
                <a:lnTo>
                  <a:pt x="0" y="1584008"/>
                </a:lnTo>
                <a:close/>
              </a:path>
            </a:pathLst>
          </a:custGeom>
          <a:gradFill>
            <a:gsLst>
              <a:gs pos="100000">
                <a:srgbClr val="008578"/>
              </a:gs>
              <a:gs pos="60000">
                <a:srgbClr val="00B5E2"/>
              </a:gs>
              <a:gs pos="5000">
                <a:srgbClr val="1E22AA"/>
              </a:gs>
            </a:gsLst>
            <a:path path="circle">
              <a:fillToRect l="100000" t="100000"/>
            </a:path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 pitchFamily="-65" charset="0"/>
            </a:endParaRP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FE4BF9A9-10F1-016A-B758-48E93E819FBF}"/>
              </a:ext>
            </a:extLst>
          </p:cNvPr>
          <p:cNvSpPr txBox="1">
            <a:spLocks/>
          </p:cNvSpPr>
          <p:nvPr/>
        </p:nvSpPr>
        <p:spPr bwMode="auto">
          <a:xfrm>
            <a:off x="4794597" y="371130"/>
            <a:ext cx="2451331" cy="84599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18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3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&amp;J Circular Bold" panose="020B0604020101020102" pitchFamily="34" charset="77"/>
                <a:cs typeface="J&amp;J Circular Bold" panose="020B0604020101020102" pitchFamily="34" charset="77"/>
                <a:sym typeface="Arial" pitchFamily="-65" charset="0"/>
              </a:rPr>
              <a:t>Operational Indicators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A7D6D31A-4FBD-D7D6-016D-D7C4137BE997}"/>
              </a:ext>
            </a:extLst>
          </p:cNvPr>
          <p:cNvSpPr txBox="1">
            <a:spLocks/>
          </p:cNvSpPr>
          <p:nvPr/>
        </p:nvSpPr>
        <p:spPr bwMode="auto">
          <a:xfrm>
            <a:off x="7410998" y="366863"/>
            <a:ext cx="2717252" cy="84599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18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3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&amp;J Circular Bold"/>
                <a:ea typeface="Arial Unicode MS"/>
                <a:cs typeface="J&amp;J Circular Bold" panose="020B0604020101020102" pitchFamily="34" charset="77"/>
                <a:sym typeface="Arial" pitchFamily="-65" charset="0"/>
              </a:rPr>
              <a:t>User Sentiment</a:t>
            </a:r>
            <a:b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&amp;J Circular Bold"/>
                <a:ea typeface="Arial Unicode MS"/>
                <a:cs typeface="J&amp;J Circular Bold" panose="020B0604020101020102" pitchFamily="34" charset="77"/>
                <a:sym typeface="Arial" pitchFamily="-65" charset="0"/>
              </a:rPr>
            </a:b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J&amp;J Circular Bold"/>
                <a:ea typeface="Arial Unicode MS"/>
                <a:cs typeface="J&amp;J Circular Bold" panose="020B0604020101020102" pitchFamily="34" charset="77"/>
                <a:sym typeface="Arial" pitchFamily="-65" charset="0"/>
              </a:rPr>
              <a:t>Indicators</a:t>
            </a:r>
          </a:p>
        </p:txBody>
      </p:sp>
      <p:sp>
        <p:nvSpPr>
          <p:cNvPr id="13" name="Freeform: Shape 25">
            <a:extLst>
              <a:ext uri="{FF2B5EF4-FFF2-40B4-BE49-F238E27FC236}">
                <a16:creationId xmlns:a16="http://schemas.microsoft.com/office/drawing/2014/main" id="{DCBF25CB-B660-5FCF-AC42-1179C2964487}"/>
              </a:ext>
            </a:extLst>
          </p:cNvPr>
          <p:cNvSpPr/>
          <p:nvPr/>
        </p:nvSpPr>
        <p:spPr>
          <a:xfrm>
            <a:off x="4458166" y="4049487"/>
            <a:ext cx="2596896" cy="2575993"/>
          </a:xfrm>
          <a:custGeom>
            <a:avLst/>
            <a:gdLst>
              <a:gd name="connsiteX0" fmla="*/ 0 w 793432"/>
              <a:gd name="connsiteY0" fmla="*/ 0 h 793432"/>
              <a:gd name="connsiteX1" fmla="*/ 793433 w 793432"/>
              <a:gd name="connsiteY1" fmla="*/ 0 h 793432"/>
              <a:gd name="connsiteX2" fmla="*/ 793433 w 793432"/>
              <a:gd name="connsiteY2" fmla="*/ 793433 h 793432"/>
              <a:gd name="connsiteX3" fmla="*/ 0 w 793432"/>
              <a:gd name="connsiteY3" fmla="*/ 793433 h 793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3432" h="793432">
                <a:moveTo>
                  <a:pt x="0" y="0"/>
                </a:moveTo>
                <a:lnTo>
                  <a:pt x="793433" y="0"/>
                </a:lnTo>
                <a:lnTo>
                  <a:pt x="793433" y="793433"/>
                </a:lnTo>
                <a:lnTo>
                  <a:pt x="0" y="793433"/>
                </a:lnTo>
                <a:close/>
              </a:path>
            </a:pathLst>
          </a:custGeom>
          <a:gradFill>
            <a:gsLst>
              <a:gs pos="25000">
                <a:srgbClr val="0070C0"/>
              </a:gs>
              <a:gs pos="90000">
                <a:srgbClr val="008578"/>
              </a:gs>
            </a:gsLst>
            <a:lin ang="1890000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 pitchFamily="-65" charset="0"/>
            </a:endParaRPr>
          </a:p>
        </p:txBody>
      </p:sp>
      <p:sp>
        <p:nvSpPr>
          <p:cNvPr id="17" name="Freeform: Shape 25">
            <a:extLst>
              <a:ext uri="{FF2B5EF4-FFF2-40B4-BE49-F238E27FC236}">
                <a16:creationId xmlns:a16="http://schemas.microsoft.com/office/drawing/2014/main" id="{16A726DE-FE69-2DFF-D73A-F53444461B42}"/>
              </a:ext>
            </a:extLst>
          </p:cNvPr>
          <p:cNvSpPr/>
          <p:nvPr/>
        </p:nvSpPr>
        <p:spPr>
          <a:xfrm>
            <a:off x="9620427" y="4049487"/>
            <a:ext cx="2607632" cy="2570596"/>
          </a:xfrm>
          <a:custGeom>
            <a:avLst/>
            <a:gdLst>
              <a:gd name="connsiteX0" fmla="*/ 0 w 793432"/>
              <a:gd name="connsiteY0" fmla="*/ 0 h 793432"/>
              <a:gd name="connsiteX1" fmla="*/ 793433 w 793432"/>
              <a:gd name="connsiteY1" fmla="*/ 0 h 793432"/>
              <a:gd name="connsiteX2" fmla="*/ 793433 w 793432"/>
              <a:gd name="connsiteY2" fmla="*/ 793433 h 793432"/>
              <a:gd name="connsiteX3" fmla="*/ 0 w 793432"/>
              <a:gd name="connsiteY3" fmla="*/ 793433 h 793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3432" h="793432">
                <a:moveTo>
                  <a:pt x="0" y="0"/>
                </a:moveTo>
                <a:lnTo>
                  <a:pt x="793433" y="0"/>
                </a:lnTo>
                <a:lnTo>
                  <a:pt x="793433" y="793433"/>
                </a:lnTo>
                <a:lnTo>
                  <a:pt x="0" y="793433"/>
                </a:lnTo>
                <a:close/>
              </a:path>
            </a:pathLst>
          </a:custGeom>
          <a:gradFill>
            <a:gsLst>
              <a:gs pos="89000">
                <a:schemeClr val="accent2"/>
              </a:gs>
              <a:gs pos="8000">
                <a:srgbClr val="C8102E"/>
              </a:gs>
            </a:gsLst>
            <a:lin ang="1890000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 pitchFamily="-65" charset="0"/>
            </a:endParaRPr>
          </a:p>
        </p:txBody>
      </p:sp>
      <p:sp>
        <p:nvSpPr>
          <p:cNvPr id="12" name="Freeform: Shape 25">
            <a:extLst>
              <a:ext uri="{FF2B5EF4-FFF2-40B4-BE49-F238E27FC236}">
                <a16:creationId xmlns:a16="http://schemas.microsoft.com/office/drawing/2014/main" id="{D86E0136-77DF-C41F-9EA3-575DDD039537}"/>
              </a:ext>
            </a:extLst>
          </p:cNvPr>
          <p:cNvSpPr/>
          <p:nvPr/>
        </p:nvSpPr>
        <p:spPr>
          <a:xfrm>
            <a:off x="4458168" y="1478891"/>
            <a:ext cx="2587752" cy="2570596"/>
          </a:xfrm>
          <a:custGeom>
            <a:avLst/>
            <a:gdLst>
              <a:gd name="connsiteX0" fmla="*/ 0 w 793432"/>
              <a:gd name="connsiteY0" fmla="*/ 0 h 793432"/>
              <a:gd name="connsiteX1" fmla="*/ 793433 w 793432"/>
              <a:gd name="connsiteY1" fmla="*/ 0 h 793432"/>
              <a:gd name="connsiteX2" fmla="*/ 793433 w 793432"/>
              <a:gd name="connsiteY2" fmla="*/ 793433 h 793432"/>
              <a:gd name="connsiteX3" fmla="*/ 0 w 793432"/>
              <a:gd name="connsiteY3" fmla="*/ 793433 h 793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3432" h="793432">
                <a:moveTo>
                  <a:pt x="0" y="0"/>
                </a:moveTo>
                <a:lnTo>
                  <a:pt x="793433" y="0"/>
                </a:lnTo>
                <a:lnTo>
                  <a:pt x="793433" y="793433"/>
                </a:lnTo>
                <a:lnTo>
                  <a:pt x="0" y="793433"/>
                </a:lnTo>
                <a:close/>
              </a:path>
            </a:pathLst>
          </a:custGeom>
          <a:gradFill>
            <a:gsLst>
              <a:gs pos="25000">
                <a:schemeClr val="accent2"/>
              </a:gs>
              <a:gs pos="90000">
                <a:srgbClr val="008578"/>
              </a:gs>
            </a:gsLst>
            <a:lin ang="1890000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 pitchFamily="-65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94ABAEC-0B5E-D82B-8691-57629C48BA0E}"/>
              </a:ext>
            </a:extLst>
          </p:cNvPr>
          <p:cNvGrpSpPr/>
          <p:nvPr/>
        </p:nvGrpSpPr>
        <p:grpSpPr>
          <a:xfrm>
            <a:off x="4807124" y="1839908"/>
            <a:ext cx="1921397" cy="2136869"/>
            <a:chOff x="4807124" y="1839908"/>
            <a:chExt cx="1921397" cy="2136869"/>
          </a:xfrm>
        </p:grpSpPr>
        <p:sp>
          <p:nvSpPr>
            <p:cNvPr id="19" name="Content Placeholder 8">
              <a:extLst>
                <a:ext uri="{FF2B5EF4-FFF2-40B4-BE49-F238E27FC236}">
                  <a16:creationId xmlns:a16="http://schemas.microsoft.com/office/drawing/2014/main" id="{8076868A-5DD1-A78A-7A46-F220FDEA297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807124" y="2724909"/>
              <a:ext cx="1902472" cy="84599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2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200" indent="-22860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52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8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64" indent="-191135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223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259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95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331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4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J&amp;J Circular Bold" panose="020B0604020101020102" pitchFamily="34" charset="77"/>
                  <a:cs typeface="J&amp;J Circular Bold" panose="020B0604020101020102" pitchFamily="34" charset="77"/>
                  <a:sym typeface="Arial" pitchFamily="-65" charset="0"/>
                </a:rPr>
                <a:t>72%</a:t>
              </a:r>
            </a:p>
          </p:txBody>
        </p:sp>
        <p:sp>
          <p:nvSpPr>
            <p:cNvPr id="26" name="Content Placeholder 8">
              <a:extLst>
                <a:ext uri="{FF2B5EF4-FFF2-40B4-BE49-F238E27FC236}">
                  <a16:creationId xmlns:a16="http://schemas.microsoft.com/office/drawing/2014/main" id="{6FF2F790-CF67-A999-ABF5-6FE4B75BE05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807125" y="1839908"/>
              <a:ext cx="1638960" cy="43251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2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200" indent="-22860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52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8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64" indent="-191135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223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259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95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331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J&amp;J Circular Light" panose="020B0404020101020102" pitchFamily="34" charset="77"/>
                  <a:cs typeface="J&amp;J Circular Light" panose="020B0404020101020102" pitchFamily="34" charset="77"/>
                  <a:sym typeface="Arial" pitchFamily="-65" charset="0"/>
                </a:rPr>
                <a:t>Content Transformation</a:t>
              </a:r>
            </a:p>
          </p:txBody>
        </p:sp>
        <p:sp>
          <p:nvSpPr>
            <p:cNvPr id="44" name="Content Placeholder 8">
              <a:extLst>
                <a:ext uri="{FF2B5EF4-FFF2-40B4-BE49-F238E27FC236}">
                  <a16:creationId xmlns:a16="http://schemas.microsoft.com/office/drawing/2014/main" id="{613CCC5C-8EEB-B4BF-E113-12725EC18B7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815529" y="2391845"/>
              <a:ext cx="1902472" cy="46304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2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200" indent="-22860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52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8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64" indent="-191135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223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259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95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331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J&amp;J Circular Book" panose="020B0604020101020102" pitchFamily="34" charset="77"/>
                  <a:cs typeface="J&amp;J Circular Book" panose="020B0604020101020102" pitchFamily="34" charset="77"/>
                  <a:sym typeface="Arial" pitchFamily="-65" charset="0"/>
                </a:rPr>
                <a:t>18% to</a:t>
              </a:r>
            </a:p>
          </p:txBody>
        </p:sp>
        <p:sp>
          <p:nvSpPr>
            <p:cNvPr id="46" name="Content Placeholder 8">
              <a:extLst>
                <a:ext uri="{FF2B5EF4-FFF2-40B4-BE49-F238E27FC236}">
                  <a16:creationId xmlns:a16="http://schemas.microsoft.com/office/drawing/2014/main" id="{4FAAA7B4-FB14-5673-3325-9766D424B12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815529" y="3457153"/>
              <a:ext cx="1902472" cy="51962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2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200" indent="-22860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52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8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64" indent="-191135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223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259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95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331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J&amp;J Circular Light" panose="020B0404020101020102" pitchFamily="34" charset="77"/>
                  <a:cs typeface="J&amp;J Circular Light" panose="020B0404020101020102" pitchFamily="34" charset="77"/>
                  <a:sym typeface="Arial" pitchFamily="-65" charset="0"/>
                </a:rPr>
                <a:t>2022</a:t>
              </a:r>
            </a:p>
          </p:txBody>
        </p:sp>
        <p:pic>
          <p:nvPicPr>
            <p:cNvPr id="29" name="Picture 28" descr="Icon&#10;&#10;Description automatically generated">
              <a:extLst>
                <a:ext uri="{FF2B5EF4-FFF2-40B4-BE49-F238E27FC236}">
                  <a16:creationId xmlns:a16="http://schemas.microsoft.com/office/drawing/2014/main" id="{A6EEE9EA-3B85-3FA0-F219-1E1436D990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40000"/>
            </a:blip>
            <a:stretch>
              <a:fillRect/>
            </a:stretch>
          </p:blipFill>
          <p:spPr>
            <a:xfrm>
              <a:off x="6375086" y="1859516"/>
              <a:ext cx="353435" cy="353435"/>
            </a:xfrm>
            <a:prstGeom prst="rect">
              <a:avLst/>
            </a:prstGeom>
          </p:spPr>
        </p:pic>
        <p:sp>
          <p:nvSpPr>
            <p:cNvPr id="34" name="Triangle 33">
              <a:extLst>
                <a:ext uri="{FF2B5EF4-FFF2-40B4-BE49-F238E27FC236}">
                  <a16:creationId xmlns:a16="http://schemas.microsoft.com/office/drawing/2014/main" id="{82DB2B9E-0588-D7D4-E55B-C88425426F99}"/>
                </a:ext>
              </a:extLst>
            </p:cNvPr>
            <p:cNvSpPr/>
            <p:nvPr/>
          </p:nvSpPr>
          <p:spPr bwMode="auto">
            <a:xfrm>
              <a:off x="6096000" y="3128480"/>
              <a:ext cx="223170" cy="192388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</p:grpSp>
      <p:sp>
        <p:nvSpPr>
          <p:cNvPr id="14" name="Freeform: Shape 25">
            <a:extLst>
              <a:ext uri="{FF2B5EF4-FFF2-40B4-BE49-F238E27FC236}">
                <a16:creationId xmlns:a16="http://schemas.microsoft.com/office/drawing/2014/main" id="{8CF4DE5A-672A-E052-2E7F-AE37D58319BD}"/>
              </a:ext>
            </a:extLst>
          </p:cNvPr>
          <p:cNvSpPr/>
          <p:nvPr/>
        </p:nvSpPr>
        <p:spPr>
          <a:xfrm>
            <a:off x="7048241" y="1478891"/>
            <a:ext cx="2578681" cy="2570596"/>
          </a:xfrm>
          <a:custGeom>
            <a:avLst/>
            <a:gdLst>
              <a:gd name="connsiteX0" fmla="*/ 0 w 793432"/>
              <a:gd name="connsiteY0" fmla="*/ 0 h 793432"/>
              <a:gd name="connsiteX1" fmla="*/ 793433 w 793432"/>
              <a:gd name="connsiteY1" fmla="*/ 0 h 793432"/>
              <a:gd name="connsiteX2" fmla="*/ 793433 w 793432"/>
              <a:gd name="connsiteY2" fmla="*/ 793433 h 793432"/>
              <a:gd name="connsiteX3" fmla="*/ 0 w 793432"/>
              <a:gd name="connsiteY3" fmla="*/ 793433 h 793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3432" h="793432">
                <a:moveTo>
                  <a:pt x="0" y="0"/>
                </a:moveTo>
                <a:lnTo>
                  <a:pt x="793433" y="0"/>
                </a:lnTo>
                <a:lnTo>
                  <a:pt x="793433" y="793433"/>
                </a:lnTo>
                <a:lnTo>
                  <a:pt x="0" y="793433"/>
                </a:lnTo>
                <a:close/>
              </a:path>
            </a:pathLst>
          </a:custGeom>
          <a:gradFill>
            <a:gsLst>
              <a:gs pos="25000">
                <a:schemeClr val="accent2"/>
              </a:gs>
              <a:gs pos="90000">
                <a:srgbClr val="C8102E"/>
              </a:gs>
            </a:gsLst>
            <a:lin ang="18900000" scaled="1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 pitchFamily="-65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1B54F98-FA19-2201-F028-5CB5CBF63696}"/>
              </a:ext>
            </a:extLst>
          </p:cNvPr>
          <p:cNvGrpSpPr/>
          <p:nvPr/>
        </p:nvGrpSpPr>
        <p:grpSpPr>
          <a:xfrm>
            <a:off x="7432130" y="1813463"/>
            <a:ext cx="1910877" cy="1813661"/>
            <a:chOff x="7432130" y="1813463"/>
            <a:chExt cx="1910877" cy="1813661"/>
          </a:xfrm>
        </p:grpSpPr>
        <p:sp>
          <p:nvSpPr>
            <p:cNvPr id="56" name="Content Placeholder 8">
              <a:extLst>
                <a:ext uri="{FF2B5EF4-FFF2-40B4-BE49-F238E27FC236}">
                  <a16:creationId xmlns:a16="http://schemas.microsoft.com/office/drawing/2014/main" id="{12B26CF6-5953-00E0-C4CA-FE6A3D319E8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440535" y="1955692"/>
              <a:ext cx="1902472" cy="43251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2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200" indent="-22860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52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8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64" indent="-191135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223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259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95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331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J&amp;J Circular Light" panose="020B0404020101020102" pitchFamily="34" charset="77"/>
                  <a:cs typeface="J&amp;J Circular Light" panose="020B0404020101020102" pitchFamily="34" charset="77"/>
                  <a:sym typeface="Arial" pitchFamily="-65" charset="0"/>
                </a:rPr>
                <a:t>Portal Experience</a:t>
              </a:r>
            </a:p>
          </p:txBody>
        </p:sp>
        <p:sp>
          <p:nvSpPr>
            <p:cNvPr id="62" name="Content Placeholder 8">
              <a:extLst>
                <a:ext uri="{FF2B5EF4-FFF2-40B4-BE49-F238E27FC236}">
                  <a16:creationId xmlns:a16="http://schemas.microsoft.com/office/drawing/2014/main" id="{30728E78-62F0-DBD3-935C-F637F6F0278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432130" y="2781130"/>
              <a:ext cx="1902472" cy="84599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2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200" indent="-22860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52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8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64" indent="-191135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223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259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95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331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4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J&amp;J Circular Bold" panose="020B0604020101020102" pitchFamily="34" charset="77"/>
                  <a:cs typeface="J&amp;J Circular Bold" panose="020B0604020101020102" pitchFamily="34" charset="77"/>
                  <a:sym typeface="Arial" pitchFamily="-65" charset="0"/>
                </a:rPr>
                <a:t>52%</a:t>
              </a:r>
            </a:p>
          </p:txBody>
        </p:sp>
        <p:sp>
          <p:nvSpPr>
            <p:cNvPr id="64" name="Content Placeholder 8">
              <a:extLst>
                <a:ext uri="{FF2B5EF4-FFF2-40B4-BE49-F238E27FC236}">
                  <a16:creationId xmlns:a16="http://schemas.microsoft.com/office/drawing/2014/main" id="{F83ED100-AE70-88DA-022F-B68F94CD860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440535" y="2425911"/>
              <a:ext cx="1902472" cy="46304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2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200" indent="-22860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52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8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64" indent="-191135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223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259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95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331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J&amp;J Circular Book" panose="020B0604020101020102" pitchFamily="34" charset="77"/>
                  <a:cs typeface="J&amp;J Circular Book" panose="020B0604020101020102" pitchFamily="34" charset="77"/>
                  <a:sym typeface="Arial" pitchFamily="-65" charset="0"/>
                </a:rPr>
                <a:t>32% to</a:t>
              </a:r>
            </a:p>
          </p:txBody>
        </p:sp>
        <p:pic>
          <p:nvPicPr>
            <p:cNvPr id="33" name="Picture 32" descr="Icon&#10;&#10;Description automatically generated">
              <a:extLst>
                <a:ext uri="{FF2B5EF4-FFF2-40B4-BE49-F238E27FC236}">
                  <a16:creationId xmlns:a16="http://schemas.microsoft.com/office/drawing/2014/main" id="{BAF1D8E4-79E7-6F86-B691-4B9AB4C12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 amt="40000"/>
            </a:blip>
            <a:stretch>
              <a:fillRect/>
            </a:stretch>
          </p:blipFill>
          <p:spPr>
            <a:xfrm>
              <a:off x="8964105" y="1813463"/>
              <a:ext cx="375925" cy="375925"/>
            </a:xfrm>
            <a:prstGeom prst="rect">
              <a:avLst/>
            </a:prstGeom>
          </p:spPr>
        </p:pic>
        <p:sp>
          <p:nvSpPr>
            <p:cNvPr id="39" name="Triangle 38">
              <a:extLst>
                <a:ext uri="{FF2B5EF4-FFF2-40B4-BE49-F238E27FC236}">
                  <a16:creationId xmlns:a16="http://schemas.microsoft.com/office/drawing/2014/main" id="{463A135F-F0C1-11FE-6CCF-A1162482F5DE}"/>
                </a:ext>
              </a:extLst>
            </p:cNvPr>
            <p:cNvSpPr/>
            <p:nvPr/>
          </p:nvSpPr>
          <p:spPr bwMode="auto">
            <a:xfrm>
              <a:off x="8740935" y="3180398"/>
              <a:ext cx="223170" cy="192388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51650AD-E68A-22DF-EFD7-3C183E09DCCC}"/>
              </a:ext>
            </a:extLst>
          </p:cNvPr>
          <p:cNvGrpSpPr/>
          <p:nvPr/>
        </p:nvGrpSpPr>
        <p:grpSpPr>
          <a:xfrm>
            <a:off x="10030037" y="1901194"/>
            <a:ext cx="1912453" cy="1718600"/>
            <a:chOff x="10030037" y="1901194"/>
            <a:chExt cx="1912453" cy="1718600"/>
          </a:xfrm>
        </p:grpSpPr>
        <p:sp>
          <p:nvSpPr>
            <p:cNvPr id="58" name="Content Placeholder 8">
              <a:extLst>
                <a:ext uri="{FF2B5EF4-FFF2-40B4-BE49-F238E27FC236}">
                  <a16:creationId xmlns:a16="http://schemas.microsoft.com/office/drawing/2014/main" id="{D6ACDBAA-BE79-F490-2A1F-BE9216A8F79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040018" y="1955692"/>
              <a:ext cx="1902472" cy="43251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2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200" indent="-22860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52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8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64" indent="-191135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223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259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95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331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J&amp;J Circular Light" panose="020B0404020101020102" pitchFamily="34" charset="77"/>
                  <a:cs typeface="J&amp;J Circular Light" panose="020B0404020101020102" pitchFamily="34" charset="77"/>
                  <a:sym typeface="Arial" pitchFamily="-65" charset="0"/>
                </a:rPr>
                <a:t>Ease of Use</a:t>
              </a:r>
            </a:p>
          </p:txBody>
        </p:sp>
        <p:sp>
          <p:nvSpPr>
            <p:cNvPr id="65" name="Content Placeholder 8">
              <a:extLst>
                <a:ext uri="{FF2B5EF4-FFF2-40B4-BE49-F238E27FC236}">
                  <a16:creationId xmlns:a16="http://schemas.microsoft.com/office/drawing/2014/main" id="{CDB15A45-35C4-8599-E4F2-3AB2BDA13C8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030037" y="2773800"/>
              <a:ext cx="1902472" cy="84599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2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200" indent="-22860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52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8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64" indent="-191135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223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259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95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331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4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J&amp;J Circular Bold" panose="020B0604020101020102" pitchFamily="34" charset="77"/>
                  <a:cs typeface="J&amp;J Circular Bold" panose="020B0604020101020102" pitchFamily="34" charset="77"/>
                  <a:sym typeface="Arial" pitchFamily="-65" charset="0"/>
                </a:rPr>
                <a:t>62%</a:t>
              </a:r>
            </a:p>
          </p:txBody>
        </p:sp>
        <p:sp>
          <p:nvSpPr>
            <p:cNvPr id="66" name="Content Placeholder 8">
              <a:extLst>
                <a:ext uri="{FF2B5EF4-FFF2-40B4-BE49-F238E27FC236}">
                  <a16:creationId xmlns:a16="http://schemas.microsoft.com/office/drawing/2014/main" id="{C7070E3E-572D-BA18-42B6-39B4876AD4B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038442" y="2442701"/>
              <a:ext cx="1902472" cy="46304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2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200" indent="-22860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52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8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64" indent="-191135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223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259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95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331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J&amp;J Circular Book" panose="020B0604020101020102" pitchFamily="34" charset="77"/>
                  <a:cs typeface="J&amp;J Circular Book" panose="020B0604020101020102" pitchFamily="34" charset="77"/>
                  <a:sym typeface="Arial" pitchFamily="-65" charset="0"/>
                </a:rPr>
                <a:t>51% to</a:t>
              </a:r>
            </a:p>
          </p:txBody>
        </p:sp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673DA213-90CA-996E-C500-7139D7C85A3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alphaModFix amt="40000"/>
            </a:blip>
            <a:stretch>
              <a:fillRect/>
            </a:stretch>
          </p:blipFill>
          <p:spPr>
            <a:xfrm>
              <a:off x="11558732" y="1901194"/>
              <a:ext cx="275642" cy="262946"/>
            </a:xfrm>
            <a:prstGeom prst="rect">
              <a:avLst/>
            </a:prstGeom>
          </p:spPr>
        </p:pic>
        <p:sp>
          <p:nvSpPr>
            <p:cNvPr id="40" name="Triangle 39">
              <a:extLst>
                <a:ext uri="{FF2B5EF4-FFF2-40B4-BE49-F238E27FC236}">
                  <a16:creationId xmlns:a16="http://schemas.microsoft.com/office/drawing/2014/main" id="{BA43CEC3-7BCF-0263-FBC9-D229C6758533}"/>
                </a:ext>
              </a:extLst>
            </p:cNvPr>
            <p:cNvSpPr/>
            <p:nvPr/>
          </p:nvSpPr>
          <p:spPr bwMode="auto">
            <a:xfrm>
              <a:off x="11335562" y="3180398"/>
              <a:ext cx="223170" cy="192388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9BA8971-AF73-A049-FED3-A8660AE82B63}"/>
              </a:ext>
            </a:extLst>
          </p:cNvPr>
          <p:cNvGrpSpPr/>
          <p:nvPr/>
        </p:nvGrpSpPr>
        <p:grpSpPr>
          <a:xfrm>
            <a:off x="7413169" y="4463836"/>
            <a:ext cx="1952108" cy="1730411"/>
            <a:chOff x="7413169" y="4463836"/>
            <a:chExt cx="1952108" cy="1730411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88AE8F5-5CB4-1764-BEE0-8BA5200D00BE}"/>
                </a:ext>
              </a:extLst>
            </p:cNvPr>
            <p:cNvGrpSpPr/>
            <p:nvPr/>
          </p:nvGrpSpPr>
          <p:grpSpPr>
            <a:xfrm>
              <a:off x="7413169" y="4463836"/>
              <a:ext cx="1952108" cy="1730411"/>
              <a:chOff x="7413169" y="4463836"/>
              <a:chExt cx="1952108" cy="1730411"/>
            </a:xfrm>
          </p:grpSpPr>
          <p:sp>
            <p:nvSpPr>
              <p:cNvPr id="60" name="Content Placeholder 8">
                <a:extLst>
                  <a:ext uri="{FF2B5EF4-FFF2-40B4-BE49-F238E27FC236}">
                    <a16:creationId xmlns:a16="http://schemas.microsoft.com/office/drawing/2014/main" id="{AB745C7A-D4D9-5C2D-FF9E-F885C8D53E6A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7448706" y="4551719"/>
                <a:ext cx="1902472" cy="432511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228600" indent="-228600" algn="l" rtl="0" eaLnBrk="1" fontAlgn="base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2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1pPr>
                <a:lvl2pPr marL="457200" indent="-228600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20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2pPr>
                <a:lvl3pPr marL="73152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18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3pPr>
                <a:lvl4pPr marL="109728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1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4pPr>
                <a:lvl5pPr marL="1487964" indent="-191135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»"/>
                  <a:defRPr sz="13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5pPr>
                <a:lvl6pPr marL="1776223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6pPr>
                <a:lvl7pPr marL="2064259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7pPr>
                <a:lvl8pPr marL="2352295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8pPr>
                <a:lvl9pPr marL="2640331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J&amp;J Circular Light" panose="020B0404020101020102" pitchFamily="34" charset="77"/>
                    <a:cs typeface="J&amp;J Circular Light" panose="020B0404020101020102" pitchFamily="34" charset="77"/>
                    <a:sym typeface="Arial" pitchFamily="-65" charset="0"/>
                  </a:rPr>
                  <a:t>Ease of Navigation</a:t>
                </a:r>
              </a:p>
            </p:txBody>
          </p:sp>
          <p:sp>
            <p:nvSpPr>
              <p:cNvPr id="68" name="Content Placeholder 8">
                <a:extLst>
                  <a:ext uri="{FF2B5EF4-FFF2-40B4-BE49-F238E27FC236}">
                    <a16:creationId xmlns:a16="http://schemas.microsoft.com/office/drawing/2014/main" id="{520CEC70-A237-05F0-2DB3-13CAC330D5A2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7413169" y="5348253"/>
                <a:ext cx="1902472" cy="84599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228600" indent="-228600" algn="l" rtl="0" eaLnBrk="1" fontAlgn="base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2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1pPr>
                <a:lvl2pPr marL="457200" indent="-228600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20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2pPr>
                <a:lvl3pPr marL="73152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18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3pPr>
                <a:lvl4pPr marL="109728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1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4pPr>
                <a:lvl5pPr marL="1487964" indent="-191135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»"/>
                  <a:defRPr sz="13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5pPr>
                <a:lvl6pPr marL="1776223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6pPr>
                <a:lvl7pPr marL="2064259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7pPr>
                <a:lvl8pPr marL="2352295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8pPr>
                <a:lvl9pPr marL="2640331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None/>
                  <a:tabLst/>
                  <a:defRPr/>
                </a:pPr>
                <a:r>
                  <a:rPr kumimoji="0" lang="en-US" sz="4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J&amp;J Circular Bold" panose="020B0604020101020102" pitchFamily="34" charset="77"/>
                    <a:cs typeface="J&amp;J Circular Bold" panose="020B0604020101020102" pitchFamily="34" charset="77"/>
                    <a:sym typeface="Arial" pitchFamily="-65" charset="0"/>
                  </a:rPr>
                  <a:t>62%</a:t>
                </a:r>
              </a:p>
            </p:txBody>
          </p:sp>
          <p:sp>
            <p:nvSpPr>
              <p:cNvPr id="69" name="Content Placeholder 8">
                <a:extLst>
                  <a:ext uri="{FF2B5EF4-FFF2-40B4-BE49-F238E27FC236}">
                    <a16:creationId xmlns:a16="http://schemas.microsoft.com/office/drawing/2014/main" id="{157B67EF-2818-F411-13B2-D44A3E74522B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7436322" y="5017154"/>
                <a:ext cx="1902472" cy="463042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228600" indent="-228600" algn="l" rtl="0" eaLnBrk="1" fontAlgn="base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2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1pPr>
                <a:lvl2pPr marL="457200" indent="-228600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20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2pPr>
                <a:lvl3pPr marL="73152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18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3pPr>
                <a:lvl4pPr marL="109728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1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4pPr>
                <a:lvl5pPr marL="1487964" indent="-191135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»"/>
                  <a:defRPr sz="13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5pPr>
                <a:lvl6pPr marL="1776223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6pPr>
                <a:lvl7pPr marL="2064259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7pPr>
                <a:lvl8pPr marL="2352295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8pPr>
                <a:lvl9pPr marL="2640331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J&amp;J Circular Book" panose="020B0604020101020102" pitchFamily="34" charset="77"/>
                    <a:cs typeface="J&amp;J Circular Book" panose="020B0604020101020102" pitchFamily="34" charset="77"/>
                    <a:sym typeface="Arial" pitchFamily="-65" charset="0"/>
                  </a:rPr>
                  <a:t>48% to</a:t>
                </a:r>
              </a:p>
            </p:txBody>
          </p:sp>
          <p:pic>
            <p:nvPicPr>
              <p:cNvPr id="31" name="Picture 30" descr="Icon&#10;&#10;Description automatically generated">
                <a:extLst>
                  <a:ext uri="{FF2B5EF4-FFF2-40B4-BE49-F238E27FC236}">
                    <a16:creationId xmlns:a16="http://schemas.microsoft.com/office/drawing/2014/main" id="{626520FB-D82F-7C63-3D45-52FDC920A4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alphaModFix amt="40000"/>
              </a:blip>
              <a:stretch>
                <a:fillRect/>
              </a:stretch>
            </p:blipFill>
            <p:spPr>
              <a:xfrm>
                <a:off x="9043485" y="4463836"/>
                <a:ext cx="321792" cy="331836"/>
              </a:xfrm>
              <a:prstGeom prst="rect">
                <a:avLst/>
              </a:prstGeom>
            </p:spPr>
          </p:pic>
        </p:grpSp>
        <p:sp>
          <p:nvSpPr>
            <p:cNvPr id="28" name="Triangle 38">
              <a:extLst>
                <a:ext uri="{FF2B5EF4-FFF2-40B4-BE49-F238E27FC236}">
                  <a16:creationId xmlns:a16="http://schemas.microsoft.com/office/drawing/2014/main" id="{55E5AF5A-BF61-EABC-A94A-4F683FB35A47}"/>
                </a:ext>
              </a:extLst>
            </p:cNvPr>
            <p:cNvSpPr/>
            <p:nvPr/>
          </p:nvSpPr>
          <p:spPr bwMode="auto">
            <a:xfrm>
              <a:off x="8736402" y="5748242"/>
              <a:ext cx="223170" cy="192388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BB9BF4B-0D97-58A7-3C7C-102165D1CD32}"/>
              </a:ext>
            </a:extLst>
          </p:cNvPr>
          <p:cNvGrpSpPr/>
          <p:nvPr/>
        </p:nvGrpSpPr>
        <p:grpSpPr>
          <a:xfrm>
            <a:off x="9915093" y="4512529"/>
            <a:ext cx="1983187" cy="1677861"/>
            <a:chOff x="9915093" y="4512529"/>
            <a:chExt cx="1983187" cy="1677861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E1B28CB8-E865-B8B6-24B2-EEA5155C2734}"/>
                </a:ext>
              </a:extLst>
            </p:cNvPr>
            <p:cNvGrpSpPr/>
            <p:nvPr/>
          </p:nvGrpSpPr>
          <p:grpSpPr>
            <a:xfrm>
              <a:off x="9915093" y="4512529"/>
              <a:ext cx="1983187" cy="1677861"/>
              <a:chOff x="9915093" y="4512529"/>
              <a:chExt cx="1983187" cy="1677861"/>
            </a:xfrm>
          </p:grpSpPr>
          <p:sp>
            <p:nvSpPr>
              <p:cNvPr id="61" name="Content Placeholder 8">
                <a:extLst>
                  <a:ext uri="{FF2B5EF4-FFF2-40B4-BE49-F238E27FC236}">
                    <a16:creationId xmlns:a16="http://schemas.microsoft.com/office/drawing/2014/main" id="{82731413-9092-593C-647C-79D0A9141559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9964602" y="4570352"/>
                <a:ext cx="1902472" cy="432511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228600" indent="-228600" algn="l" rtl="0" eaLnBrk="1" fontAlgn="base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2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1pPr>
                <a:lvl2pPr marL="457200" indent="-228600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20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2pPr>
                <a:lvl3pPr marL="73152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18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3pPr>
                <a:lvl4pPr marL="109728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1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4pPr>
                <a:lvl5pPr marL="1487964" indent="-191135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»"/>
                  <a:defRPr sz="13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5pPr>
                <a:lvl6pPr marL="1776223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6pPr>
                <a:lvl7pPr marL="2064259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7pPr>
                <a:lvl8pPr marL="2352295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8pPr>
                <a:lvl9pPr marL="2640331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J&amp;J Circular Light" panose="020B0404020101020102" pitchFamily="34" charset="77"/>
                    <a:cs typeface="J&amp;J Circular Light" panose="020B0404020101020102" pitchFamily="34" charset="77"/>
                    <a:sym typeface="Arial" pitchFamily="-65" charset="0"/>
                  </a:rPr>
                  <a:t>Look and Feel</a:t>
                </a:r>
              </a:p>
            </p:txBody>
          </p:sp>
          <p:sp>
            <p:nvSpPr>
              <p:cNvPr id="70" name="Content Placeholder 8">
                <a:extLst>
                  <a:ext uri="{FF2B5EF4-FFF2-40B4-BE49-F238E27FC236}">
                    <a16:creationId xmlns:a16="http://schemas.microsoft.com/office/drawing/2014/main" id="{AAE83FB4-9B00-E49A-93BE-934A25F1C8BF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9915093" y="5344396"/>
                <a:ext cx="1368792" cy="84599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228600" indent="-228600" algn="l" rtl="0" eaLnBrk="1" fontAlgn="base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2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1pPr>
                <a:lvl2pPr marL="457200" indent="-228600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20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2pPr>
                <a:lvl3pPr marL="73152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18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3pPr>
                <a:lvl4pPr marL="109728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1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4pPr>
                <a:lvl5pPr marL="1487964" indent="-191135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»"/>
                  <a:defRPr sz="13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5pPr>
                <a:lvl6pPr marL="1776223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6pPr>
                <a:lvl7pPr marL="2064259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7pPr>
                <a:lvl8pPr marL="2352295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8pPr>
                <a:lvl9pPr marL="2640331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None/>
                  <a:tabLst/>
                  <a:defRPr/>
                </a:pPr>
                <a:r>
                  <a:rPr kumimoji="0" lang="en-US" sz="4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J&amp;J Circular Bold" panose="020B0604020101020102" pitchFamily="34" charset="77"/>
                    <a:cs typeface="J&amp;J Circular Bold" panose="020B0604020101020102" pitchFamily="34" charset="77"/>
                    <a:sym typeface="Arial" pitchFamily="-65" charset="0"/>
                  </a:rPr>
                  <a:t>67%</a:t>
                </a:r>
              </a:p>
            </p:txBody>
          </p:sp>
          <p:sp>
            <p:nvSpPr>
              <p:cNvPr id="72" name="Content Placeholder 8">
                <a:extLst>
                  <a:ext uri="{FF2B5EF4-FFF2-40B4-BE49-F238E27FC236}">
                    <a16:creationId xmlns:a16="http://schemas.microsoft.com/office/drawing/2014/main" id="{40C5D944-48E1-6D30-6179-32ECD23B8635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9931902" y="5060686"/>
                <a:ext cx="1902472" cy="463042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228600" indent="-228600" algn="l" rtl="0" eaLnBrk="1" fontAlgn="base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2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1pPr>
                <a:lvl2pPr marL="457200" indent="-228600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20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2pPr>
                <a:lvl3pPr marL="73152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18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3pPr>
                <a:lvl4pPr marL="109728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1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4pPr>
                <a:lvl5pPr marL="1487964" indent="-191135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»"/>
                  <a:defRPr sz="13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5pPr>
                <a:lvl6pPr marL="1776223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6pPr>
                <a:lvl7pPr marL="2064259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7pPr>
                <a:lvl8pPr marL="2352295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8pPr>
                <a:lvl9pPr marL="2640331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J&amp;J Circular Book" panose="020B0604020101020102" pitchFamily="34" charset="77"/>
                    <a:cs typeface="J&amp;J Circular Book" panose="020B0604020101020102" pitchFamily="34" charset="77"/>
                    <a:sym typeface="Arial" pitchFamily="-65" charset="0"/>
                  </a:rPr>
                  <a:t>58% to</a:t>
                </a:r>
              </a:p>
            </p:txBody>
          </p:sp>
          <p:pic>
            <p:nvPicPr>
              <p:cNvPr id="23" name="Picture 22" descr="Icon&#10;&#10;Description automatically generated">
                <a:extLst>
                  <a:ext uri="{FF2B5EF4-FFF2-40B4-BE49-F238E27FC236}">
                    <a16:creationId xmlns:a16="http://schemas.microsoft.com/office/drawing/2014/main" id="{E22A685D-9DD3-7BB5-1C26-582708A149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alphaModFix amt="40000"/>
              </a:blip>
              <a:stretch>
                <a:fillRect/>
              </a:stretch>
            </p:blipFill>
            <p:spPr>
              <a:xfrm>
                <a:off x="11560851" y="4512529"/>
                <a:ext cx="337429" cy="295250"/>
              </a:xfrm>
              <a:prstGeom prst="rect">
                <a:avLst/>
              </a:prstGeom>
            </p:spPr>
          </p:pic>
        </p:grpSp>
        <p:sp>
          <p:nvSpPr>
            <p:cNvPr id="30" name="Triangle 38">
              <a:extLst>
                <a:ext uri="{FF2B5EF4-FFF2-40B4-BE49-F238E27FC236}">
                  <a16:creationId xmlns:a16="http://schemas.microsoft.com/office/drawing/2014/main" id="{FA742DFB-566E-3318-1B8A-59702E42DCCA}"/>
                </a:ext>
              </a:extLst>
            </p:cNvPr>
            <p:cNvSpPr/>
            <p:nvPr/>
          </p:nvSpPr>
          <p:spPr bwMode="auto">
            <a:xfrm>
              <a:off x="11190042" y="5733002"/>
              <a:ext cx="223170" cy="192388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3E99D862-F6C3-8DBF-E905-FC560DBA08D2}"/>
              </a:ext>
            </a:extLst>
          </p:cNvPr>
          <p:cNvGrpSpPr/>
          <p:nvPr/>
        </p:nvGrpSpPr>
        <p:grpSpPr>
          <a:xfrm>
            <a:off x="4838634" y="4305753"/>
            <a:ext cx="1927750" cy="2034363"/>
            <a:chOff x="4838634" y="4305753"/>
            <a:chExt cx="1927750" cy="2034363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F692330-0BE8-BB82-8ACB-D8D8CF2AD6AE}"/>
                </a:ext>
              </a:extLst>
            </p:cNvPr>
            <p:cNvGrpSpPr/>
            <p:nvPr/>
          </p:nvGrpSpPr>
          <p:grpSpPr>
            <a:xfrm>
              <a:off x="4838634" y="4305753"/>
              <a:ext cx="1919281" cy="2034363"/>
              <a:chOff x="4838634" y="4305753"/>
              <a:chExt cx="1919281" cy="2034363"/>
            </a:xfrm>
          </p:grpSpPr>
          <p:sp>
            <p:nvSpPr>
              <p:cNvPr id="25" name="Content Placeholder 8">
                <a:extLst>
                  <a:ext uri="{FF2B5EF4-FFF2-40B4-BE49-F238E27FC236}">
                    <a16:creationId xmlns:a16="http://schemas.microsoft.com/office/drawing/2014/main" id="{2A54A98D-B3DF-5349-DC97-630C3C36F8F2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838634" y="5002863"/>
                <a:ext cx="1902472" cy="84599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228600" indent="-228600" algn="l" rtl="0" eaLnBrk="1" fontAlgn="base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2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1pPr>
                <a:lvl2pPr marL="457200" indent="-228600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20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2pPr>
                <a:lvl3pPr marL="73152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18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3pPr>
                <a:lvl4pPr marL="109728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1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4pPr>
                <a:lvl5pPr marL="1487964" indent="-191135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»"/>
                  <a:defRPr sz="13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5pPr>
                <a:lvl6pPr marL="1776223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6pPr>
                <a:lvl7pPr marL="2064259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7pPr>
                <a:lvl8pPr marL="2352295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8pPr>
                <a:lvl9pPr marL="2640331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J&amp;J Circular Book" panose="020B0604020101020102" pitchFamily="34" charset="77"/>
                    <a:cs typeface="J&amp;J Circular Book" panose="020B0604020101020102" pitchFamily="34" charset="77"/>
                    <a:sym typeface="Arial" pitchFamily="-65" charset="0"/>
                  </a:rPr>
                  <a:t>Articles archived</a:t>
                </a:r>
              </a:p>
            </p:txBody>
          </p:sp>
          <p:sp>
            <p:nvSpPr>
              <p:cNvPr id="42" name="Content Placeholder 8">
                <a:extLst>
                  <a:ext uri="{FF2B5EF4-FFF2-40B4-BE49-F238E27FC236}">
                    <a16:creationId xmlns:a16="http://schemas.microsoft.com/office/drawing/2014/main" id="{D6FA9132-8330-513E-9677-2C5D3290EB92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855443" y="4305753"/>
                <a:ext cx="1902472" cy="84599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228600" indent="-228600" algn="l" rtl="0" eaLnBrk="1" fontAlgn="base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2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1pPr>
                <a:lvl2pPr marL="457200" indent="-228600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20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2pPr>
                <a:lvl3pPr marL="73152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18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3pPr>
                <a:lvl4pPr marL="109728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1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4pPr>
                <a:lvl5pPr marL="1487964" indent="-191135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»"/>
                  <a:defRPr sz="13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5pPr>
                <a:lvl6pPr marL="1776223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6pPr>
                <a:lvl7pPr marL="2064259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7pPr>
                <a:lvl8pPr marL="2352295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8pPr>
                <a:lvl9pPr marL="2640331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None/>
                  <a:tabLst/>
                  <a:defRPr/>
                </a:pPr>
                <a:r>
                  <a:rPr kumimoji="0" lang="en-US" sz="4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J&amp;J Circular Bold" panose="020B0604020101020102" pitchFamily="34" charset="77"/>
                    <a:cs typeface="J&amp;J Circular Bold" panose="020B0604020101020102" pitchFamily="34" charset="77"/>
                    <a:sym typeface="Arial" pitchFamily="-65" charset="0"/>
                  </a:rPr>
                  <a:t>6</a:t>
                </a:r>
              </a:p>
            </p:txBody>
          </p:sp>
          <p:sp>
            <p:nvSpPr>
              <p:cNvPr id="45" name="Content Placeholder 8">
                <a:extLst>
                  <a:ext uri="{FF2B5EF4-FFF2-40B4-BE49-F238E27FC236}">
                    <a16:creationId xmlns:a16="http://schemas.microsoft.com/office/drawing/2014/main" id="{47501DE0-D4CC-4490-8380-DEAAB53E8DC0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4855443" y="5820492"/>
                <a:ext cx="1902472" cy="51962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228600" indent="-228600" algn="l" rtl="0" eaLnBrk="1" fontAlgn="base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2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1pPr>
                <a:lvl2pPr marL="457200" indent="-228600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20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2pPr>
                <a:lvl3pPr marL="73152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•"/>
                  <a:defRPr sz="18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3pPr>
                <a:lvl4pPr marL="1097280" indent="-201168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–"/>
                  <a:defRPr sz="15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4pPr>
                <a:lvl5pPr marL="1487964" indent="-191135" algn="l" rtl="0" eaLnBrk="1" fontAlgn="base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Char char="»"/>
                  <a:defRPr sz="1300">
                    <a:solidFill>
                      <a:schemeClr val="tx2"/>
                    </a:solidFill>
                    <a:latin typeface="+mn-lt"/>
                    <a:ea typeface="Arial Unicode MS" pitchFamily="-65" charset="0"/>
                    <a:cs typeface="Arial Unicode MS" pitchFamily="-65" charset="0"/>
                    <a:sym typeface="Arial" pitchFamily="-65" charset="0"/>
                  </a:defRPr>
                </a:lvl5pPr>
                <a:lvl6pPr marL="1776223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6pPr>
                <a:lvl7pPr marL="2064259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7pPr>
                <a:lvl8pPr marL="2352295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8pPr>
                <a:lvl9pPr marL="2640331" indent="-192024" algn="l" rtl="0" eaLnBrk="1" fontAlgn="base" hangingPunct="1">
                  <a:spcBef>
                    <a:spcPts val="379"/>
                  </a:spcBef>
                  <a:spcAft>
                    <a:spcPct val="0"/>
                  </a:spcAft>
                  <a:buSzPct val="100000"/>
                  <a:buFont typeface="Arial" pitchFamily="-110" charset="0"/>
                  <a:buChar char="»"/>
                  <a:defRPr sz="17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  <a:sym typeface="Arial" pitchFamily="-110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ts val="1800"/>
                  </a:spcBef>
                  <a:spcAft>
                    <a:spcPct val="0"/>
                  </a:spcAft>
                  <a:buClr>
                    <a:srgbClr val="63666A"/>
                  </a:buClr>
                  <a:buSzPct val="100000"/>
                  <a:buFont typeface="Arial" pitchFamily="-65" charset="0"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J&amp;J Circular Light" panose="020B0404020101020102" pitchFamily="34" charset="77"/>
                    <a:cs typeface="J&amp;J Circular Light" panose="020B0404020101020102" pitchFamily="34" charset="77"/>
                    <a:sym typeface="Arial" pitchFamily="-65" charset="0"/>
                  </a:rPr>
                  <a:t>Per </a:t>
                </a:r>
                <a:r>
                  <a:rPr kumimoji="0" lang="en-US" sz="20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J&amp;J Circular Light" panose="020B0404020101020102" pitchFamily="34" charset="77"/>
                    <a:cs typeface="J&amp;J Circular Light" panose="020B0404020101020102" pitchFamily="34" charset="77"/>
                    <a:sym typeface="Arial" pitchFamily="-65" charset="0"/>
                  </a:rPr>
                  <a:t>1 </a:t>
                </a:r>
                <a:r>
                  <a: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J&amp;J Circular Light" panose="020B0404020101020102" pitchFamily="34" charset="77"/>
                    <a:cs typeface="J&amp;J Circular Light" panose="020B0404020101020102" pitchFamily="34" charset="77"/>
                    <a:sym typeface="Arial" pitchFamily="-65" charset="0"/>
                  </a:rPr>
                  <a:t>new article published</a:t>
                </a:r>
              </a:p>
            </p:txBody>
          </p:sp>
        </p:grpSp>
        <p:pic>
          <p:nvPicPr>
            <p:cNvPr id="38" name="Graphic 37" descr="Filing Box Archive outline">
              <a:extLst>
                <a:ext uri="{FF2B5EF4-FFF2-40B4-BE49-F238E27FC236}">
                  <a16:creationId xmlns:a16="http://schemas.microsoft.com/office/drawing/2014/main" id="{E5ECAE21-EF76-72F5-2BD3-D42FDDBAC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314677" y="4402233"/>
              <a:ext cx="451707" cy="451707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63924207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five pilla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713648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BE966A-D2A0-41AC-89BF-F38CB58084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C8102E"/>
                </a:solidFill>
                <a:effectLst/>
                <a:uLnTx/>
                <a:uFillTx/>
                <a:latin typeface="Arial"/>
              </a:rPr>
              <a:pPr marL="0" marR="0" lvl="0" indent="0" algn="r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C8102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five pillars of a high-performing content team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493CD8D-8ABA-480E-AE9B-60A711CB235A}"/>
              </a:ext>
            </a:extLst>
          </p:cNvPr>
          <p:cNvSpPr txBox="1">
            <a:spLocks/>
          </p:cNvSpPr>
          <p:nvPr/>
        </p:nvSpPr>
        <p:spPr bwMode="auto">
          <a:xfrm>
            <a:off x="999338" y="2424734"/>
            <a:ext cx="10514236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01168" indent="-237744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4003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18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3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The </a:t>
            </a:r>
            <a:r>
              <a:rPr lang="en-US" sz="2400" b="1" kern="0" dirty="0">
                <a:solidFill>
                  <a:srgbClr val="63666A"/>
                </a:solidFill>
                <a:latin typeface="Arial"/>
              </a:rPr>
              <a:t>W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hy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 – Anchoring to your organization’s purpose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2613857-D4DC-4B6F-B4D2-ED66B54696AE}"/>
              </a:ext>
            </a:extLst>
          </p:cNvPr>
          <p:cNvSpPr/>
          <p:nvPr/>
        </p:nvSpPr>
        <p:spPr bwMode="auto">
          <a:xfrm>
            <a:off x="355344" y="4939408"/>
            <a:ext cx="10514235" cy="96205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What do you want to know more about?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DA81285-6051-4E5E-AEAB-83D5D9EFD3E9}"/>
              </a:ext>
            </a:extLst>
          </p:cNvPr>
          <p:cNvSpPr/>
          <p:nvPr/>
        </p:nvSpPr>
        <p:spPr bwMode="auto">
          <a:xfrm>
            <a:off x="355345" y="1337188"/>
            <a:ext cx="10514236" cy="962057"/>
          </a:xfrm>
          <a:prstGeom prst="rect">
            <a:avLst/>
          </a:prstGeom>
          <a:solidFill>
            <a:srgbClr val="D9D9D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E22AA"/>
                </a:solidFill>
                <a:effectLst/>
                <a:uLnTx/>
                <a:uFillTx/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The Five Pillars</a:t>
            </a:r>
          </a:p>
        </p:txBody>
      </p:sp>
      <p:sp>
        <p:nvSpPr>
          <p:cNvPr id="27" name="Oval 26">
            <a:hlinkClick r:id="rId4" action="ppaction://hlinksldjump"/>
            <a:extLst>
              <a:ext uri="{FF2B5EF4-FFF2-40B4-BE49-F238E27FC236}">
                <a16:creationId xmlns:a16="http://schemas.microsoft.com/office/drawing/2014/main" id="{CD822F84-404F-4B6C-AEC3-67756F2EC6B0}"/>
              </a:ext>
            </a:extLst>
          </p:cNvPr>
          <p:cNvSpPr/>
          <p:nvPr/>
        </p:nvSpPr>
        <p:spPr bwMode="auto">
          <a:xfrm>
            <a:off x="536487" y="2462766"/>
            <a:ext cx="310450" cy="310450"/>
          </a:xfrm>
          <a:prstGeom prst="ellipse">
            <a:avLst/>
          </a:prstGeom>
          <a:noFill/>
          <a:ln w="317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800A1"/>
                </a:solidFill>
                <a:effectLst/>
                <a:uLnTx/>
                <a:uFillTx/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1</a:t>
            </a:r>
          </a:p>
        </p:txBody>
      </p:sp>
      <p:sp>
        <p:nvSpPr>
          <p:cNvPr id="3" name="Oval 2">
            <a:hlinkClick r:id="rId5" action="ppaction://hlinksldjump"/>
            <a:extLst>
              <a:ext uri="{FF2B5EF4-FFF2-40B4-BE49-F238E27FC236}">
                <a16:creationId xmlns:a16="http://schemas.microsoft.com/office/drawing/2014/main" id="{D2E796F5-5D9A-F21F-0EDA-BD7B28DD6831}"/>
              </a:ext>
            </a:extLst>
          </p:cNvPr>
          <p:cNvSpPr/>
          <p:nvPr/>
        </p:nvSpPr>
        <p:spPr bwMode="auto">
          <a:xfrm>
            <a:off x="536488" y="2911073"/>
            <a:ext cx="310450" cy="310450"/>
          </a:xfrm>
          <a:prstGeom prst="ellipse">
            <a:avLst/>
          </a:prstGeom>
          <a:noFill/>
          <a:ln w="317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C800A1"/>
                </a:solidFill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2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C800A1"/>
              </a:solidFill>
              <a:effectLst/>
              <a:uLnTx/>
              <a:uFillTx/>
              <a:latin typeface="Arial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4" name="Oval 3">
            <a:hlinkClick r:id="rId6" action="ppaction://hlinksldjump"/>
            <a:extLst>
              <a:ext uri="{FF2B5EF4-FFF2-40B4-BE49-F238E27FC236}">
                <a16:creationId xmlns:a16="http://schemas.microsoft.com/office/drawing/2014/main" id="{2D9FA15D-A90C-9C82-806C-838ED35DBABB}"/>
              </a:ext>
            </a:extLst>
          </p:cNvPr>
          <p:cNvSpPr/>
          <p:nvPr/>
        </p:nvSpPr>
        <p:spPr bwMode="auto">
          <a:xfrm>
            <a:off x="536488" y="3358604"/>
            <a:ext cx="310450" cy="310450"/>
          </a:xfrm>
          <a:prstGeom prst="ellipse">
            <a:avLst/>
          </a:prstGeom>
          <a:noFill/>
          <a:ln w="317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C800A1"/>
                </a:solidFill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3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C800A1"/>
              </a:solidFill>
              <a:effectLst/>
              <a:uLnTx/>
              <a:uFillTx/>
              <a:latin typeface="Arial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5" name="Oval 4">
            <a:hlinkClick r:id="rId7" action="ppaction://hlinksldjump"/>
            <a:extLst>
              <a:ext uri="{FF2B5EF4-FFF2-40B4-BE49-F238E27FC236}">
                <a16:creationId xmlns:a16="http://schemas.microsoft.com/office/drawing/2014/main" id="{138964A8-C991-F31B-79E9-5B397DDB6E5E}"/>
              </a:ext>
            </a:extLst>
          </p:cNvPr>
          <p:cNvSpPr/>
          <p:nvPr/>
        </p:nvSpPr>
        <p:spPr bwMode="auto">
          <a:xfrm>
            <a:off x="536488" y="3804295"/>
            <a:ext cx="310450" cy="310450"/>
          </a:xfrm>
          <a:prstGeom prst="ellipse">
            <a:avLst/>
          </a:prstGeom>
          <a:noFill/>
          <a:ln w="317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C800A1"/>
                </a:solidFill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4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C800A1"/>
              </a:solidFill>
              <a:effectLst/>
              <a:uLnTx/>
              <a:uFillTx/>
              <a:latin typeface="Arial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7" name="Oval 6">
            <a:hlinkClick r:id="rId8" action="ppaction://hlinksldjump"/>
            <a:extLst>
              <a:ext uri="{FF2B5EF4-FFF2-40B4-BE49-F238E27FC236}">
                <a16:creationId xmlns:a16="http://schemas.microsoft.com/office/drawing/2014/main" id="{3A6FAC6B-168A-17FC-E7D1-33C0CCAB04BF}"/>
              </a:ext>
            </a:extLst>
          </p:cNvPr>
          <p:cNvSpPr/>
          <p:nvPr/>
        </p:nvSpPr>
        <p:spPr bwMode="auto">
          <a:xfrm>
            <a:off x="542138" y="4251826"/>
            <a:ext cx="310450" cy="310450"/>
          </a:xfrm>
          <a:prstGeom prst="ellipse">
            <a:avLst/>
          </a:prstGeom>
          <a:noFill/>
          <a:ln w="317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C800A1"/>
                </a:solidFill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5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C800A1"/>
              </a:solidFill>
              <a:effectLst/>
              <a:uLnTx/>
              <a:uFillTx/>
              <a:latin typeface="Arial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4B7C1C-969D-0269-14F8-98359DDF4984}"/>
              </a:ext>
            </a:extLst>
          </p:cNvPr>
          <p:cNvSpPr txBox="1">
            <a:spLocks/>
          </p:cNvSpPr>
          <p:nvPr/>
        </p:nvSpPr>
        <p:spPr bwMode="auto">
          <a:xfrm>
            <a:off x="999338" y="2884742"/>
            <a:ext cx="9751788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01168" indent="-237744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4003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18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3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Team Structure and Talent </a:t>
            </a:r>
            <a:r>
              <a:rPr lang="en-US" sz="2400" b="1" kern="0" dirty="0">
                <a:solidFill>
                  <a:srgbClr val="63666A"/>
                </a:solidFill>
                <a:latin typeface="Arial"/>
              </a:rPr>
              <a:t>S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trategy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 – Building a future-ready team 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A59E7AE-909E-F135-D2B5-264770D4A82E}"/>
              </a:ext>
            </a:extLst>
          </p:cNvPr>
          <p:cNvSpPr txBox="1">
            <a:spLocks/>
          </p:cNvSpPr>
          <p:nvPr/>
        </p:nvSpPr>
        <p:spPr bwMode="auto">
          <a:xfrm>
            <a:off x="999337" y="3350408"/>
            <a:ext cx="10789539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01168" indent="-237744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4003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18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3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Core Behaviors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 – Setting expectations and reinforcing team norms 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6F2B5E5-BF5D-4825-1AF5-80BCCE288D3A}"/>
              </a:ext>
            </a:extLst>
          </p:cNvPr>
          <p:cNvSpPr txBox="1">
            <a:spLocks/>
          </p:cNvSpPr>
          <p:nvPr/>
        </p:nvSpPr>
        <p:spPr bwMode="auto">
          <a:xfrm>
            <a:off x="999338" y="3799040"/>
            <a:ext cx="10052120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01168" indent="-237744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4003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18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3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UX &amp; </a:t>
            </a:r>
            <a:r>
              <a:rPr lang="en-US" sz="2400" b="1" kern="0" dirty="0">
                <a:solidFill>
                  <a:srgbClr val="63666A"/>
                </a:solidFill>
                <a:latin typeface="Arial"/>
              </a:rPr>
              <a:t>C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onversational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 Design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 – Keeping the user at the center 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76CD47D-DC24-9571-EC43-F395FAC4399B}"/>
              </a:ext>
            </a:extLst>
          </p:cNvPr>
          <p:cNvSpPr txBox="1">
            <a:spLocks/>
          </p:cNvSpPr>
          <p:nvPr/>
        </p:nvSpPr>
        <p:spPr bwMode="auto">
          <a:xfrm>
            <a:off x="999338" y="4251826"/>
            <a:ext cx="10789538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01168" indent="-237744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4003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18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3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Governance, Process &amp; </a:t>
            </a:r>
            <a:r>
              <a:rPr lang="en-US" sz="2400" b="1" kern="0" dirty="0">
                <a:solidFill>
                  <a:srgbClr val="63666A"/>
                </a:solidFill>
                <a:latin typeface="Arial"/>
              </a:rPr>
              <a:t>T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ech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 – Leveraging AI to accelerate impact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106180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EDD51D3-954B-4830-8D34-B675DCADD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78458"/>
            <a:ext cx="10141527" cy="461665"/>
          </a:xfrm>
        </p:spPr>
        <p:txBody>
          <a:bodyPr/>
          <a:lstStyle/>
          <a:p>
            <a:r>
              <a:rPr lang="en-US" dirty="0"/>
              <a:t>Why we exis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EC445A-FBFB-471A-BBDF-F401A389C921}"/>
              </a:ext>
            </a:extLst>
          </p:cNvPr>
          <p:cNvSpPr txBox="1"/>
          <p:nvPr/>
        </p:nvSpPr>
        <p:spPr>
          <a:xfrm>
            <a:off x="1024268" y="1850065"/>
            <a:ext cx="299483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C8102E"/>
                </a:solidFill>
                <a:effectLst/>
                <a:uLnTx/>
                <a:uFillTx/>
                <a:latin typeface="Arial" pitchFamily="-65" charset="0"/>
              </a:rPr>
              <a:t>OUR VIS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7C2950-BEB0-4D3E-8180-10B3FD59079F}"/>
              </a:ext>
            </a:extLst>
          </p:cNvPr>
          <p:cNvSpPr txBox="1"/>
          <p:nvPr/>
        </p:nvSpPr>
        <p:spPr>
          <a:xfrm>
            <a:off x="1024268" y="3682405"/>
            <a:ext cx="299483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E22AA"/>
                </a:solidFill>
                <a:effectLst/>
                <a:uLnTx/>
                <a:uFillTx/>
                <a:latin typeface="Arial" pitchFamily="-65" charset="0"/>
              </a:rPr>
              <a:t>OUR MISS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F37FDF-8D80-4EDF-BF50-79FF2958087F}"/>
              </a:ext>
            </a:extLst>
          </p:cNvPr>
          <p:cNvSpPr txBox="1"/>
          <p:nvPr/>
        </p:nvSpPr>
        <p:spPr>
          <a:xfrm>
            <a:off x="1024268" y="2275367"/>
            <a:ext cx="263333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 pitchFamily="-65" charset="0"/>
              </a:rPr>
              <a:t>Unlocking limitless value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 pitchFamily="-65" charset="0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 pitchFamily="-65" charset="0"/>
              </a:rPr>
              <a:t>with the most advanced busines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1C07B4-2E2E-4229-ABB1-4838CD9BA8CD}"/>
              </a:ext>
            </a:extLst>
          </p:cNvPr>
          <p:cNvSpPr txBox="1"/>
          <p:nvPr/>
        </p:nvSpPr>
        <p:spPr>
          <a:xfrm>
            <a:off x="1024268" y="4107922"/>
            <a:ext cx="299483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 pitchFamily="-65" charset="0"/>
              </a:rPr>
              <a:t>Being a trusted partner, creating game-changing solutions for Johnson &amp; Johns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BE4CBD7-7D6E-4AC6-A763-16B69996F99A}"/>
              </a:ext>
            </a:extLst>
          </p:cNvPr>
          <p:cNvSpPr/>
          <p:nvPr/>
        </p:nvSpPr>
        <p:spPr bwMode="auto">
          <a:xfrm>
            <a:off x="4761011" y="1626782"/>
            <a:ext cx="6674907" cy="3912782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755DCDE-B3D5-4A22-9710-C929BBAEB9EF}"/>
              </a:ext>
            </a:extLst>
          </p:cNvPr>
          <p:cNvSpPr txBox="1"/>
          <p:nvPr/>
        </p:nvSpPr>
        <p:spPr>
          <a:xfrm>
            <a:off x="5413248" y="2648913"/>
            <a:ext cx="5641848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-65" charset="0"/>
              </a:rPr>
              <a:t>Powering the people </a:t>
            </a:r>
            <a:b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-65" charset="0"/>
              </a:rPr>
            </a:b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-65" charset="0"/>
              </a:rPr>
              <a:t>who are changing the trajectory of health for human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3A1A17-C8AE-4A19-B147-4A8675DBEB69}"/>
              </a:ext>
            </a:extLst>
          </p:cNvPr>
          <p:cNvSpPr txBox="1"/>
          <p:nvPr/>
        </p:nvSpPr>
        <p:spPr>
          <a:xfrm>
            <a:off x="5413248" y="2233446"/>
            <a:ext cx="317915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-65" charset="0"/>
              </a:rPr>
              <a:t>OUR </a:t>
            </a:r>
            <a:r>
              <a:rPr lang="en-US" sz="1600" b="1" dirty="0">
                <a:solidFill>
                  <a:srgbClr val="FFFFFF"/>
                </a:solidFill>
              </a:rPr>
              <a:t>PURPOS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-65" charset="0"/>
            </a:endParaRPr>
          </a:p>
        </p:txBody>
      </p:sp>
      <p:sp>
        <p:nvSpPr>
          <p:cNvPr id="20" name="Google Shape;938;p19">
            <a:extLst>
              <a:ext uri="{FF2B5EF4-FFF2-40B4-BE49-F238E27FC236}">
                <a16:creationId xmlns:a16="http://schemas.microsoft.com/office/drawing/2014/main" id="{BD71F8A1-954F-6D4D-8E65-0C54499E6C3B}"/>
              </a:ext>
            </a:extLst>
          </p:cNvPr>
          <p:cNvSpPr txBox="1">
            <a:spLocks noGrp="1"/>
          </p:cNvSpPr>
          <p:nvPr>
            <p:ph type="sldNum" sz="quarter" idx="21"/>
          </p:nvPr>
        </p:nvSpPr>
        <p:spPr>
          <a:xfrm>
            <a:off x="11640312" y="6219717"/>
            <a:ext cx="454400" cy="333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511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8102E"/>
                </a:solidFill>
                <a:effectLst/>
                <a:uLnTx/>
                <a:uFillTx/>
                <a:latin typeface="Arial"/>
              </a:rPr>
              <a:pPr marL="0" marR="0" lvl="0" indent="0" algn="r" defTabSz="511175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8102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" name="Arrow: Left 10">
            <a:hlinkClick r:id="rId3" action="ppaction://hlinksldjump"/>
            <a:extLst>
              <a:ext uri="{FF2B5EF4-FFF2-40B4-BE49-F238E27FC236}">
                <a16:creationId xmlns:a16="http://schemas.microsoft.com/office/drawing/2014/main" id="{95336A8D-2E40-15AF-1FE6-D6F7FE9CD870}"/>
              </a:ext>
            </a:extLst>
          </p:cNvPr>
          <p:cNvSpPr/>
          <p:nvPr/>
        </p:nvSpPr>
        <p:spPr bwMode="auto">
          <a:xfrm>
            <a:off x="177660" y="6204860"/>
            <a:ext cx="304121" cy="323543"/>
          </a:xfrm>
          <a:prstGeom prst="leftArrow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920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 structur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1818F82-F24F-41C8-9926-36D274EBA3A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8102E"/>
                </a:solidFill>
                <a:effectLst/>
                <a:uLnTx/>
                <a:uFillTx/>
                <a:latin typeface="Arial"/>
              </a:rPr>
              <a:pPr marL="0" marR="0" lvl="0" indent="0" algn="r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8102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C2B8106-6293-41A9-A9D5-7711D0C7487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321293"/>
            <a:ext cx="3984171" cy="4206240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rgbClr val="1E22AA"/>
                </a:solidFill>
              </a:rPr>
              <a:t>Three-part structure</a:t>
            </a:r>
            <a:r>
              <a:rPr lang="en-US" dirty="0"/>
              <a:t> </a:t>
            </a:r>
          </a:p>
          <a:p>
            <a:r>
              <a:rPr lang="en-US" dirty="0"/>
              <a:t>Relationships</a:t>
            </a:r>
          </a:p>
          <a:p>
            <a:r>
              <a:rPr lang="en-US" dirty="0"/>
              <a:t>Execution </a:t>
            </a:r>
          </a:p>
          <a:p>
            <a:r>
              <a:rPr lang="en-US" dirty="0"/>
              <a:t>Governance &amp; Standards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997A8A10-C893-4B9B-84F0-7A31E8722E7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64246005"/>
              </p:ext>
            </p:extLst>
          </p:nvPr>
        </p:nvGraphicFramePr>
        <p:xfrm>
          <a:off x="5298399" y="149857"/>
          <a:ext cx="5897880" cy="3931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Content Placeholder 12">
            <a:extLst>
              <a:ext uri="{FF2B5EF4-FFF2-40B4-BE49-F238E27FC236}">
                <a16:creationId xmlns:a16="http://schemas.microsoft.com/office/drawing/2014/main" id="{A1139119-D148-4141-A97F-2C2CE4D056E5}"/>
              </a:ext>
            </a:extLst>
          </p:cNvPr>
          <p:cNvSpPr txBox="1">
            <a:spLocks/>
          </p:cNvSpPr>
          <p:nvPr/>
        </p:nvSpPr>
        <p:spPr bwMode="auto">
          <a:xfrm>
            <a:off x="409158" y="4151445"/>
            <a:ext cx="10972800" cy="1846372"/>
          </a:xfrm>
          <a:prstGeom prst="rect">
            <a:avLst/>
          </a:prstGeom>
          <a:solidFill>
            <a:srgbClr val="D9D9D6"/>
          </a:solidFill>
          <a:ln w="12700">
            <a:noFill/>
            <a:miter lim="800000"/>
            <a:headEnd/>
            <a:tailEnd/>
          </a:ln>
        </p:spPr>
        <p:txBody>
          <a:bodyPr vert="horz" wrap="square" lIns="91440" tIns="0" rIns="91440" bIns="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18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3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indent="0" algn="ctr" defTabSz="914400">
              <a:buNone/>
            </a:pPr>
            <a:endParaRPr lang="en-US" sz="100" kern="0" dirty="0"/>
          </a:p>
          <a:p>
            <a:pPr marL="0" indent="0" algn="ctr" defTabSz="914400">
              <a:buNone/>
            </a:pPr>
            <a:r>
              <a:rPr lang="en-US" b="1" kern="0" dirty="0"/>
              <a:t>We drew inspiration from where we needed to be 2-3 years in the future.</a:t>
            </a:r>
          </a:p>
          <a:p>
            <a:pPr marL="0" indent="0" algn="ctr" defTabSz="914400">
              <a:buNone/>
            </a:pPr>
            <a:r>
              <a:rPr lang="en-US" b="1" kern="0" dirty="0"/>
              <a:t>We’ve continued to evolve the structure over time.</a:t>
            </a:r>
          </a:p>
        </p:txBody>
      </p:sp>
      <p:sp>
        <p:nvSpPr>
          <p:cNvPr id="3" name="Arrow: Left 2">
            <a:hlinkClick r:id="rId9" action="ppaction://hlinksldjump"/>
            <a:extLst>
              <a:ext uri="{FF2B5EF4-FFF2-40B4-BE49-F238E27FC236}">
                <a16:creationId xmlns:a16="http://schemas.microsoft.com/office/drawing/2014/main" id="{4C064E9E-9120-E414-B39B-3242101EA84B}"/>
              </a:ext>
            </a:extLst>
          </p:cNvPr>
          <p:cNvSpPr/>
          <p:nvPr/>
        </p:nvSpPr>
        <p:spPr bwMode="auto">
          <a:xfrm>
            <a:off x="177660" y="6204860"/>
            <a:ext cx="304121" cy="323543"/>
          </a:xfrm>
          <a:prstGeom prst="leftArrow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156512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king outside the box about talen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1818F82-F24F-41C8-9926-36D274EBA3A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8102E"/>
                </a:solidFill>
                <a:effectLst/>
                <a:uLnTx/>
                <a:uFillTx/>
                <a:latin typeface="Arial"/>
              </a:rPr>
              <a:pPr marL="0" marR="0" lvl="0" indent="0" algn="r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8102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C2B8106-6293-41A9-A9D5-7711D0C7487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13657" y="1325880"/>
            <a:ext cx="10972800" cy="4206240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rgbClr val="1E22AA"/>
                </a:solidFill>
              </a:rPr>
              <a:t>Key considerations</a:t>
            </a:r>
          </a:p>
          <a:p>
            <a:r>
              <a:rPr lang="en-US" dirty="0"/>
              <a:t>Skills people need when they walk in the door vs. what they can learn quickly</a:t>
            </a:r>
          </a:p>
          <a:p>
            <a:r>
              <a:rPr lang="en-US" dirty="0"/>
              <a:t>Traditional content background vs. adjacent fields</a:t>
            </a:r>
          </a:p>
          <a:p>
            <a:r>
              <a:rPr lang="en-US" dirty="0"/>
              <a:t>Storytelling skills</a:t>
            </a:r>
          </a:p>
          <a:p>
            <a:r>
              <a:rPr lang="en-US" dirty="0"/>
              <a:t>Experience design mindset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5" name="Content Placeholder 12">
            <a:extLst>
              <a:ext uri="{FF2B5EF4-FFF2-40B4-BE49-F238E27FC236}">
                <a16:creationId xmlns:a16="http://schemas.microsoft.com/office/drawing/2014/main" id="{924A5A8E-FB38-43BB-9F42-91D8DB37ED36}"/>
              </a:ext>
            </a:extLst>
          </p:cNvPr>
          <p:cNvSpPr txBox="1">
            <a:spLocks/>
          </p:cNvSpPr>
          <p:nvPr/>
        </p:nvSpPr>
        <p:spPr bwMode="auto">
          <a:xfrm>
            <a:off x="326571" y="4780892"/>
            <a:ext cx="10972800" cy="1236985"/>
          </a:xfrm>
          <a:prstGeom prst="rect">
            <a:avLst/>
          </a:prstGeom>
          <a:solidFill>
            <a:srgbClr val="D9D9D6"/>
          </a:solidFill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18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3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indent="0" algn="ctr" defTabSz="914400">
              <a:buNone/>
            </a:pPr>
            <a:endParaRPr lang="en-US" sz="100" kern="0" dirty="0">
              <a:solidFill>
                <a:srgbClr val="1E22AA"/>
              </a:solidFill>
            </a:endParaRPr>
          </a:p>
          <a:p>
            <a:pPr marL="0" indent="0" algn="ctr">
              <a:buNone/>
            </a:pPr>
            <a:r>
              <a:rPr lang="en-US" b="1" dirty="0"/>
              <a:t>Transformation takes a team with the right mix of skills, willing to try new things, fail and try again.</a:t>
            </a:r>
          </a:p>
        </p:txBody>
      </p:sp>
      <p:sp>
        <p:nvSpPr>
          <p:cNvPr id="2" name="Arrow: Left 1">
            <a:hlinkClick r:id="rId4" action="ppaction://hlinksldjump"/>
            <a:extLst>
              <a:ext uri="{FF2B5EF4-FFF2-40B4-BE49-F238E27FC236}">
                <a16:creationId xmlns:a16="http://schemas.microsoft.com/office/drawing/2014/main" id="{63F55E3F-D797-F383-34AF-CA6F04FD909B}"/>
              </a:ext>
            </a:extLst>
          </p:cNvPr>
          <p:cNvSpPr/>
          <p:nvPr/>
        </p:nvSpPr>
        <p:spPr bwMode="auto">
          <a:xfrm>
            <a:off x="177660" y="6204860"/>
            <a:ext cx="304121" cy="323543"/>
          </a:xfrm>
          <a:prstGeom prst="leftArrow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215061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0670012E-017A-2449-B063-B9B46BD1A2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4803" y="1474316"/>
            <a:ext cx="2169583" cy="404813"/>
          </a:xfrm>
        </p:spPr>
        <p:txBody>
          <a:bodyPr/>
          <a:lstStyle/>
          <a:p>
            <a:pPr algn="ctr"/>
            <a:r>
              <a:rPr lang="en-US" sz="2200" dirty="0"/>
              <a:t>Partner cross-functionally</a:t>
            </a:r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529D1206-E9B4-C447-85C5-A58E41D8329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32382" y="1474316"/>
            <a:ext cx="2169583" cy="404813"/>
          </a:xfrm>
        </p:spPr>
        <p:txBody>
          <a:bodyPr/>
          <a:lstStyle/>
          <a:p>
            <a:pPr algn="ctr"/>
            <a:r>
              <a:rPr lang="en-US" sz="2200" dirty="0"/>
              <a:t>Ask why</a:t>
            </a:r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AEE225C4-8F43-A046-ABFA-199EC45221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9645" y="1474316"/>
            <a:ext cx="2169583" cy="404813"/>
          </a:xfrm>
        </p:spPr>
        <p:txBody>
          <a:bodyPr/>
          <a:lstStyle/>
          <a:p>
            <a:pPr algn="ctr"/>
            <a:r>
              <a:rPr lang="en-US" sz="2200" dirty="0"/>
              <a:t>Solve the right problem</a:t>
            </a: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42C71A47-8963-1C48-AC0F-F1AF8311F89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87557" y="1474316"/>
            <a:ext cx="2169583" cy="404813"/>
          </a:xfrm>
        </p:spPr>
        <p:txBody>
          <a:bodyPr/>
          <a:lstStyle/>
          <a:p>
            <a:pPr algn="ctr"/>
            <a:r>
              <a:rPr lang="en-US" sz="2200" dirty="0"/>
              <a:t>Improve the right content</a:t>
            </a:r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3C8CB869-0205-C545-9A3B-DC9D447EC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core behaviors are critical to our succes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1BBD67-D5AC-4878-B708-039B7A282EC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marL="0" marR="0" lvl="0" indent="0" algn="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8102E"/>
                </a:solidFill>
                <a:effectLst/>
                <a:uLnTx/>
                <a:uFillTx/>
                <a:latin typeface="Arial"/>
              </a:rPr>
              <a:pPr marL="0" marR="0" lvl="0" indent="0" algn="r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C8102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2" name="Text Placeholder 51">
            <a:extLst>
              <a:ext uri="{FF2B5EF4-FFF2-40B4-BE49-F238E27FC236}">
                <a16:creationId xmlns:a16="http://schemas.microsoft.com/office/drawing/2014/main" id="{E06DD656-278E-4460-B296-3329F7CD9CC4}"/>
              </a:ext>
            </a:extLst>
          </p:cNvPr>
          <p:cNvSpPr txBox="1">
            <a:spLocks/>
          </p:cNvSpPr>
          <p:nvPr/>
        </p:nvSpPr>
        <p:spPr bwMode="auto">
          <a:xfrm>
            <a:off x="771080" y="3886436"/>
            <a:ext cx="2169583" cy="4048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 panose="020B0604020202020204" pitchFamily="34" charset="0"/>
                <a:sym typeface="Arial" pitchFamily="-65" charset="0"/>
              </a:rPr>
              <a:t>Take ownership</a:t>
            </a:r>
          </a:p>
        </p:txBody>
      </p:sp>
      <p:sp>
        <p:nvSpPr>
          <p:cNvPr id="23" name="Text Placeholder 74">
            <a:extLst>
              <a:ext uri="{FF2B5EF4-FFF2-40B4-BE49-F238E27FC236}">
                <a16:creationId xmlns:a16="http://schemas.microsoft.com/office/drawing/2014/main" id="{A0DD60DF-C409-4CCA-9BA2-9A5698B713CF}"/>
              </a:ext>
            </a:extLst>
          </p:cNvPr>
          <p:cNvSpPr txBox="1">
            <a:spLocks/>
          </p:cNvSpPr>
          <p:nvPr/>
        </p:nvSpPr>
        <p:spPr bwMode="auto">
          <a:xfrm>
            <a:off x="3658659" y="3886436"/>
            <a:ext cx="2169583" cy="4048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 panose="020B0604020202020204" pitchFamily="34" charset="0"/>
                <a:sym typeface="Arial" pitchFamily="-65" charset="0"/>
              </a:rPr>
              <a:t>Influence and teach</a:t>
            </a:r>
          </a:p>
        </p:txBody>
      </p:sp>
      <p:sp>
        <p:nvSpPr>
          <p:cNvPr id="24" name="Text Placeholder 53">
            <a:extLst>
              <a:ext uri="{FF2B5EF4-FFF2-40B4-BE49-F238E27FC236}">
                <a16:creationId xmlns:a16="http://schemas.microsoft.com/office/drawing/2014/main" id="{4BA2E4F1-3FC7-44ED-931F-19A4643E4F7C}"/>
              </a:ext>
            </a:extLst>
          </p:cNvPr>
          <p:cNvSpPr txBox="1">
            <a:spLocks/>
          </p:cNvSpPr>
          <p:nvPr/>
        </p:nvSpPr>
        <p:spPr bwMode="auto">
          <a:xfrm>
            <a:off x="6425922" y="3886436"/>
            <a:ext cx="2169583" cy="4048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 panose="020B0604020202020204" pitchFamily="34" charset="0"/>
                <a:sym typeface="Arial" pitchFamily="-65" charset="0"/>
              </a:rPr>
              <a:t>Be efficient and disciplined</a:t>
            </a:r>
          </a:p>
        </p:txBody>
      </p:sp>
      <p:sp>
        <p:nvSpPr>
          <p:cNvPr id="25" name="Text Placeholder 71">
            <a:extLst>
              <a:ext uri="{FF2B5EF4-FFF2-40B4-BE49-F238E27FC236}">
                <a16:creationId xmlns:a16="http://schemas.microsoft.com/office/drawing/2014/main" id="{8DD7BBC0-6E4A-41EE-A9CB-5F8B4BD1E814}"/>
              </a:ext>
            </a:extLst>
          </p:cNvPr>
          <p:cNvSpPr txBox="1">
            <a:spLocks/>
          </p:cNvSpPr>
          <p:nvPr/>
        </p:nvSpPr>
        <p:spPr bwMode="auto">
          <a:xfrm>
            <a:off x="9213834" y="3886436"/>
            <a:ext cx="2169583" cy="4048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sz="2000" b="1">
                <a:solidFill>
                  <a:schemeClr val="tx2"/>
                </a:solidFill>
                <a:latin typeface="Arial" panose="020B0604020202020204" pitchFamily="34" charset="0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 panose="020B0604020202020204" pitchFamily="34" charset="0"/>
                <a:sym typeface="Arial" pitchFamily="-65" charset="0"/>
              </a:rPr>
              <a:t>Improvise</a:t>
            </a:r>
          </a:p>
        </p:txBody>
      </p:sp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id="{EAFF4718-EBE2-4778-B413-063F5EE69A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1501" y="2261813"/>
            <a:ext cx="1241436" cy="1280160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A8297A94-CE87-404C-92D7-CAB089AAAF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2232" y="4409370"/>
            <a:ext cx="1370783" cy="1371600"/>
          </a:xfrm>
          <a:prstGeom prst="rect">
            <a:avLst/>
          </a:prstGeom>
        </p:spPr>
      </p:pic>
      <p:pic>
        <p:nvPicPr>
          <p:cNvPr id="18" name="Picture 17" descr="Icon&#10;&#10;Description automatically generated">
            <a:extLst>
              <a:ext uri="{FF2B5EF4-FFF2-40B4-BE49-F238E27FC236}">
                <a16:creationId xmlns:a16="http://schemas.microsoft.com/office/drawing/2014/main" id="{794521A3-3325-47C2-87C9-D2FC423C4A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1926" y="2151139"/>
            <a:ext cx="1150494" cy="1188720"/>
          </a:xfrm>
          <a:prstGeom prst="rect">
            <a:avLst/>
          </a:prstGeom>
        </p:spPr>
      </p:pic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67E8E220-66D5-40CF-9BB7-AFE5688017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97215" y="2223428"/>
            <a:ext cx="1150266" cy="1097280"/>
          </a:xfrm>
          <a:prstGeom prst="rect">
            <a:avLst/>
          </a:prstGeom>
        </p:spPr>
      </p:pic>
      <p:pic>
        <p:nvPicPr>
          <p:cNvPr id="31" name="Picture 30" descr="Icon&#10;&#10;Description automatically generated">
            <a:extLst>
              <a:ext uri="{FF2B5EF4-FFF2-40B4-BE49-F238E27FC236}">
                <a16:creationId xmlns:a16="http://schemas.microsoft.com/office/drawing/2014/main" id="{82F55F60-0F19-44D0-B309-CB36FC75D4F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7202" y="4704442"/>
            <a:ext cx="1097280" cy="109728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1036F026-7EE8-43F9-A4B8-17270D1CA1F6}"/>
              </a:ext>
            </a:extLst>
          </p:cNvPr>
          <p:cNvSpPr/>
          <p:nvPr/>
        </p:nvSpPr>
        <p:spPr bwMode="auto">
          <a:xfrm flipV="1">
            <a:off x="546540" y="3621373"/>
            <a:ext cx="11330152" cy="14694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pic>
        <p:nvPicPr>
          <p:cNvPr id="4" name="Picture 3" descr="Logo, icon&#10;&#10;Description automatically generated">
            <a:extLst>
              <a:ext uri="{FF2B5EF4-FFF2-40B4-BE49-F238E27FC236}">
                <a16:creationId xmlns:a16="http://schemas.microsoft.com/office/drawing/2014/main" id="{0AAD2BCE-1850-46F6-9919-08E855D06DE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22393" y="4657244"/>
            <a:ext cx="1088754" cy="1097280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D8FCA668-E405-470A-8DFE-D7A70325649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32268" y="4409370"/>
            <a:ext cx="1280160" cy="1280160"/>
          </a:xfrm>
          <a:prstGeom prst="rect">
            <a:avLst/>
          </a:prstGeom>
        </p:spPr>
      </p:pic>
      <p:pic>
        <p:nvPicPr>
          <p:cNvPr id="8" name="Picture 7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DDA7A33E-969A-438E-88E5-FFE5CE03DDC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72923" y="2214882"/>
            <a:ext cx="1474316" cy="1371600"/>
          </a:xfrm>
          <a:prstGeom prst="rect">
            <a:avLst/>
          </a:prstGeom>
        </p:spPr>
      </p:pic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2769173C-76E0-4EEC-A18A-DC609D3908E6}"/>
              </a:ext>
            </a:extLst>
          </p:cNvPr>
          <p:cNvSpPr txBox="1">
            <a:spLocks/>
          </p:cNvSpPr>
          <p:nvPr/>
        </p:nvSpPr>
        <p:spPr bwMode="auto">
          <a:xfrm>
            <a:off x="3304758" y="6167717"/>
            <a:ext cx="5290747" cy="30777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1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1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1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21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Google “</a:t>
            </a:r>
            <a:r>
              <a:rPr kumimoji="0" lang="en-US" sz="2000" b="0" i="1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Jojo Mayer - A Plea for Improvisation”</a:t>
            </a:r>
          </a:p>
        </p:txBody>
      </p:sp>
      <p:sp>
        <p:nvSpPr>
          <p:cNvPr id="3" name="Arrow: Left 2">
            <a:hlinkClick r:id="rId12" action="ppaction://hlinksldjump"/>
            <a:extLst>
              <a:ext uri="{FF2B5EF4-FFF2-40B4-BE49-F238E27FC236}">
                <a16:creationId xmlns:a16="http://schemas.microsoft.com/office/drawing/2014/main" id="{D2F0CC99-7C0A-1B6F-0A18-0699BF7C4135}"/>
              </a:ext>
            </a:extLst>
          </p:cNvPr>
          <p:cNvSpPr/>
          <p:nvPr/>
        </p:nvSpPr>
        <p:spPr bwMode="auto">
          <a:xfrm>
            <a:off x="177660" y="6204860"/>
            <a:ext cx="304121" cy="323543"/>
          </a:xfrm>
          <a:prstGeom prst="leftArrow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830358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sational AI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1818F82-F24F-41C8-9926-36D274EBA3A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8102E"/>
                </a:solidFill>
                <a:effectLst/>
                <a:uLnTx/>
                <a:uFillTx/>
                <a:latin typeface="Arial"/>
              </a:rPr>
              <a:pPr marL="0" marR="0" lvl="0" indent="0" algn="r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8102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C2B8106-6293-41A9-A9D5-7711D0C7487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600" y="1353951"/>
            <a:ext cx="4698824" cy="4206240"/>
          </a:xfrm>
        </p:spPr>
        <p:txBody>
          <a:bodyPr/>
          <a:lstStyle/>
          <a:p>
            <a:r>
              <a:rPr lang="en-US" dirty="0"/>
              <a:t>Digital assistant content development</a:t>
            </a:r>
          </a:p>
          <a:p>
            <a:r>
              <a:rPr lang="en-US" dirty="0"/>
              <a:t>Workshops and certifications</a:t>
            </a:r>
          </a:p>
          <a:p>
            <a:r>
              <a:rPr lang="en-US" dirty="0"/>
              <a:t>Persona-based writing</a:t>
            </a:r>
          </a:p>
          <a:p>
            <a:r>
              <a:rPr lang="en-US" dirty="0"/>
              <a:t>Conversational writing style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43360D-F2D2-42EF-906C-BDC6742987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5997" y="261622"/>
            <a:ext cx="4260267" cy="6217920"/>
          </a:xfrm>
          <a:prstGeom prst="rect">
            <a:avLst/>
          </a:prstGeom>
        </p:spPr>
      </p:pic>
      <p:sp>
        <p:nvSpPr>
          <p:cNvPr id="2" name="Arrow: Left 1">
            <a:hlinkClick r:id="rId5" action="ppaction://hlinksldjump"/>
            <a:extLst>
              <a:ext uri="{FF2B5EF4-FFF2-40B4-BE49-F238E27FC236}">
                <a16:creationId xmlns:a16="http://schemas.microsoft.com/office/drawing/2014/main" id="{D44C234F-45F7-4820-8E1D-3B13832D508E}"/>
              </a:ext>
            </a:extLst>
          </p:cNvPr>
          <p:cNvSpPr/>
          <p:nvPr/>
        </p:nvSpPr>
        <p:spPr bwMode="auto">
          <a:xfrm>
            <a:off x="177660" y="6204860"/>
            <a:ext cx="304121" cy="323543"/>
          </a:xfrm>
          <a:prstGeom prst="leftArrow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274779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ing user-centric navigation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1818F82-F24F-41C8-9926-36D274EBA3A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8102E"/>
                </a:solidFill>
                <a:effectLst/>
                <a:uLnTx/>
                <a:uFillTx/>
                <a:latin typeface="Arial"/>
              </a:rPr>
              <a:pPr marL="0" marR="0" lvl="0" indent="0" algn="r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8102E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7" name="Picture 6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12FCD45E-EFD0-475A-9B74-EDDAA4A0D3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625" y="1252401"/>
            <a:ext cx="8092440" cy="409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D6A526CB-2FD1-4415-A147-AEC6FFE945B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7531" y="1252401"/>
            <a:ext cx="2708365" cy="4206240"/>
          </a:xfrm>
        </p:spPr>
        <p:txBody>
          <a:bodyPr/>
          <a:lstStyle/>
          <a:p>
            <a:r>
              <a:rPr lang="en-US" dirty="0"/>
              <a:t>Function-focused to task-focused navigation  </a:t>
            </a:r>
          </a:p>
          <a:p>
            <a:r>
              <a:rPr lang="en-US" dirty="0"/>
              <a:t>User-centric terminology</a:t>
            </a:r>
          </a:p>
          <a:p>
            <a:r>
              <a:rPr lang="en-US" dirty="0"/>
              <a:t>Card-sorting exercise</a:t>
            </a:r>
          </a:p>
          <a:p>
            <a:r>
              <a:rPr lang="en-US" dirty="0"/>
              <a:t>User testing</a:t>
            </a:r>
          </a:p>
        </p:txBody>
      </p:sp>
      <p:sp>
        <p:nvSpPr>
          <p:cNvPr id="2" name="Arrow: Left 1">
            <a:hlinkClick r:id="rId5" action="ppaction://hlinksldjump"/>
            <a:extLst>
              <a:ext uri="{FF2B5EF4-FFF2-40B4-BE49-F238E27FC236}">
                <a16:creationId xmlns:a16="http://schemas.microsoft.com/office/drawing/2014/main" id="{E3552AC6-E030-7529-8E13-5AE4F82262B4}"/>
              </a:ext>
            </a:extLst>
          </p:cNvPr>
          <p:cNvSpPr/>
          <p:nvPr/>
        </p:nvSpPr>
        <p:spPr bwMode="auto">
          <a:xfrm>
            <a:off x="177660" y="6204860"/>
            <a:ext cx="304121" cy="323543"/>
          </a:xfrm>
          <a:prstGeom prst="leftArrow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152581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0352505-A268-804B-B824-4D8B46AB27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ohnson &amp; Johnson, Global Services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9A8B2A95-0C78-284A-95D5-710036601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ke Spencele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3F2687-54AF-413A-995C-09289045A1C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816501-AAE5-214E-B100-00C3DC5F5E3F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A17EC1D-150B-43D2-BE8F-B851E973EC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03123" y="1713180"/>
            <a:ext cx="5601437" cy="4206240"/>
          </a:xfrm>
        </p:spPr>
        <p:txBody>
          <a:bodyPr/>
          <a:lstStyle/>
          <a:p>
            <a:r>
              <a:rPr lang="en-US" b="1" dirty="0"/>
              <a:t>6</a:t>
            </a:r>
            <a:r>
              <a:rPr lang="en-US" dirty="0"/>
              <a:t> years at J&amp;J</a:t>
            </a:r>
          </a:p>
          <a:p>
            <a:r>
              <a:rPr lang="en-US" b="1" dirty="0"/>
              <a:t>4</a:t>
            </a:r>
            <a:r>
              <a:rPr lang="en-US" dirty="0"/>
              <a:t> years as Director, Global Content Strategy</a:t>
            </a:r>
          </a:p>
          <a:p>
            <a:r>
              <a:rPr lang="en-US" b="1" dirty="0"/>
              <a:t>2</a:t>
            </a:r>
            <a:r>
              <a:rPr lang="en-US" dirty="0"/>
              <a:t> years as Global Knowledge Management Lead</a:t>
            </a:r>
          </a:p>
          <a:p>
            <a:r>
              <a:rPr lang="en-US" dirty="0"/>
              <a:t>Prior to J&amp;J, </a:t>
            </a:r>
            <a:r>
              <a:rPr lang="en-US" b="1" dirty="0"/>
              <a:t>10</a:t>
            </a:r>
            <a:r>
              <a:rPr lang="en-US" dirty="0"/>
              <a:t> years at PwC</a:t>
            </a:r>
          </a:p>
        </p:txBody>
      </p:sp>
      <p:pic>
        <p:nvPicPr>
          <p:cNvPr id="4" name="Picture 3" descr="A picture containing building, person, outdoor, person&#10;&#10;Description automatically generated">
            <a:extLst>
              <a:ext uri="{FF2B5EF4-FFF2-40B4-BE49-F238E27FC236}">
                <a16:creationId xmlns:a16="http://schemas.microsoft.com/office/drawing/2014/main" id="{08367B45-5711-4BA1-A3FD-70F36E456D4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277" b="15351"/>
          <a:stretch/>
        </p:blipFill>
        <p:spPr>
          <a:xfrm>
            <a:off x="6284601" y="546651"/>
            <a:ext cx="3908607" cy="4206240"/>
          </a:xfrm>
          <a:prstGeom prst="ellipse">
            <a:avLst/>
          </a:prstGeom>
          <a:ln w="63500" cap="rnd">
            <a:solidFill>
              <a:schemeClr val="tx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42052813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vernance and proces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1818F82-F24F-41C8-9926-36D274EBA3A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8102E"/>
                </a:solidFill>
                <a:effectLst/>
                <a:uLnTx/>
                <a:uFillTx/>
                <a:latin typeface="Arial"/>
              </a:rPr>
              <a:pPr marL="0" marR="0" lvl="0" indent="0" algn="r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8102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C2B8106-6293-41A9-A9D5-7711D0C7487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29917" y="1325880"/>
            <a:ext cx="6567948" cy="4206240"/>
          </a:xfrm>
        </p:spPr>
        <p:txBody>
          <a:bodyPr/>
          <a:lstStyle/>
          <a:p>
            <a:r>
              <a:rPr lang="en-US" dirty="0"/>
              <a:t>Building content transformation into our DNA</a:t>
            </a:r>
          </a:p>
          <a:p>
            <a:r>
              <a:rPr lang="en-US" dirty="0"/>
              <a:t>Clear content owner roles and responsibilities</a:t>
            </a:r>
          </a:p>
          <a:p>
            <a:r>
              <a:rPr lang="en-US" dirty="0"/>
              <a:t>Proactive content reviews</a:t>
            </a:r>
          </a:p>
          <a:p>
            <a:r>
              <a:rPr lang="en-US" dirty="0"/>
              <a:t>Content performance transparency</a:t>
            </a:r>
          </a:p>
          <a:p>
            <a:r>
              <a:rPr lang="en-US" dirty="0"/>
              <a:t>Quality checks</a:t>
            </a:r>
          </a:p>
          <a:p>
            <a:r>
              <a:rPr lang="en-US" dirty="0"/>
              <a:t>Leveraging AI to get the words right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423E48CA-67CE-4412-9162-5BD60C305BA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94012741"/>
              </p:ext>
            </p:extLst>
          </p:nvPr>
        </p:nvGraphicFramePr>
        <p:xfrm>
          <a:off x="4198824" y="1345772"/>
          <a:ext cx="7737537" cy="4206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Arrow: Left 2">
            <a:hlinkClick r:id="rId9" action="ppaction://hlinksldjump"/>
            <a:extLst>
              <a:ext uri="{FF2B5EF4-FFF2-40B4-BE49-F238E27FC236}">
                <a16:creationId xmlns:a16="http://schemas.microsoft.com/office/drawing/2014/main" id="{CFD808AB-9E3C-E6E1-056F-2A2AD0444492}"/>
              </a:ext>
            </a:extLst>
          </p:cNvPr>
          <p:cNvSpPr/>
          <p:nvPr/>
        </p:nvSpPr>
        <p:spPr bwMode="auto">
          <a:xfrm>
            <a:off x="177660" y="6204860"/>
            <a:ext cx="304121" cy="323543"/>
          </a:xfrm>
          <a:prstGeom prst="leftArrow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2239890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BE966A-D2A0-41AC-89BF-F38CB58084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C8102E"/>
                </a:solidFill>
                <a:effectLst/>
                <a:uLnTx/>
                <a:uFillTx/>
                <a:latin typeface="Arial"/>
              </a:rPr>
              <a:pPr marL="0" marR="0" lvl="0" indent="0" algn="r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C8102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raging AI to get the words righ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3D8B59A-66CB-4B16-B6CA-D30D580A7AEE}"/>
              </a:ext>
            </a:extLst>
          </p:cNvPr>
          <p:cNvSpPr txBox="1">
            <a:spLocks/>
          </p:cNvSpPr>
          <p:nvPr/>
        </p:nvSpPr>
        <p:spPr>
          <a:xfrm>
            <a:off x="4810368" y="1432113"/>
            <a:ext cx="705714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01168" indent="-237744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4003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18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3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Acrolinx is a content governance platform that uses AI to analyze and suggest improvements to our content.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DA81285-6051-4E5E-AEAB-83D5D9EFD3E9}"/>
              </a:ext>
            </a:extLst>
          </p:cNvPr>
          <p:cNvSpPr/>
          <p:nvPr/>
        </p:nvSpPr>
        <p:spPr bwMode="auto">
          <a:xfrm>
            <a:off x="1633682" y="3028713"/>
            <a:ext cx="8732836" cy="691001"/>
          </a:xfrm>
          <a:prstGeom prst="rect">
            <a:avLst/>
          </a:prstGeom>
          <a:solidFill>
            <a:srgbClr val="D9D9D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E22AA"/>
                </a:solidFill>
                <a:effectLst/>
                <a:uLnTx/>
                <a:uFillTx/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What Acrolinx do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82A7837-D2D7-68BE-211D-05BAD8BFC6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347" y="1253252"/>
            <a:ext cx="3573683" cy="1188720"/>
          </a:xfrm>
          <a:prstGeom prst="rect">
            <a:avLst/>
          </a:prstGeom>
        </p:spPr>
      </p:pic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A3AE6CCF-A671-0633-B53F-6220DA14BC7E}"/>
              </a:ext>
            </a:extLst>
          </p:cNvPr>
          <p:cNvSpPr txBox="1">
            <a:spLocks/>
          </p:cNvSpPr>
          <p:nvPr/>
        </p:nvSpPr>
        <p:spPr>
          <a:xfrm>
            <a:off x="1571306" y="3898904"/>
            <a:ext cx="8984053" cy="2376071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18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3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Provides suggestions to improve clarity, consistency, inclusive language, 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scanability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, tone and terminology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Scores content and our content creators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sym typeface="Arial" pitchFamily="-65" charset="0"/>
              </a:rPr>
              <a:t>Integrates with our authoring tools</a:t>
            </a:r>
          </a:p>
        </p:txBody>
      </p:sp>
      <p:sp>
        <p:nvSpPr>
          <p:cNvPr id="3" name="Arrow: Left 2">
            <a:hlinkClick r:id="rId5" action="ppaction://hlinksldjump"/>
            <a:extLst>
              <a:ext uri="{FF2B5EF4-FFF2-40B4-BE49-F238E27FC236}">
                <a16:creationId xmlns:a16="http://schemas.microsoft.com/office/drawing/2014/main" id="{1AB19A96-EEC4-B9DE-B185-0FCEDD216892}"/>
              </a:ext>
            </a:extLst>
          </p:cNvPr>
          <p:cNvSpPr/>
          <p:nvPr/>
        </p:nvSpPr>
        <p:spPr bwMode="auto">
          <a:xfrm>
            <a:off x="177660" y="6204860"/>
            <a:ext cx="304121" cy="323543"/>
          </a:xfrm>
          <a:prstGeom prst="leftArrow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6945886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1983439"/>
            <a:ext cx="10981267" cy="1538883"/>
          </a:xfrm>
        </p:spPr>
        <p:txBody>
          <a:bodyPr/>
          <a:lstStyle/>
          <a:p>
            <a:r>
              <a:rPr lang="en-US" dirty="0"/>
              <a:t>“Deciding what not to do is as important as deciding what to do.”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– Steve Job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5817529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49BD1518-D60B-CE46-A3D8-712975F0CA91}"/>
              </a:ext>
            </a:extLst>
          </p:cNvPr>
          <p:cNvGrpSpPr/>
          <p:nvPr/>
        </p:nvGrpSpPr>
        <p:grpSpPr>
          <a:xfrm>
            <a:off x="7112530" y="1"/>
            <a:ext cx="5079472" cy="5829448"/>
            <a:chOff x="7112530" y="1"/>
            <a:chExt cx="5079472" cy="5829448"/>
          </a:xfrm>
        </p:grpSpPr>
        <p:pic>
          <p:nvPicPr>
            <p:cNvPr id="50" name="Picture 49" descr="Background pattern&#10;&#10;Description automatically generated">
              <a:extLst>
                <a:ext uri="{FF2B5EF4-FFF2-40B4-BE49-F238E27FC236}">
                  <a16:creationId xmlns:a16="http://schemas.microsoft.com/office/drawing/2014/main" id="{A860CAE3-D21B-6F4E-91A3-F905398111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58313" t="20005" r="43" b="6265"/>
            <a:stretch/>
          </p:blipFill>
          <p:spPr>
            <a:xfrm>
              <a:off x="7112530" y="690708"/>
              <a:ext cx="5079472" cy="5138741"/>
            </a:xfrm>
            <a:prstGeom prst="rect">
              <a:avLst/>
            </a:prstGeom>
          </p:spPr>
        </p:pic>
        <p:sp>
          <p:nvSpPr>
            <p:cNvPr id="105" name="Pentagon 104">
              <a:extLst>
                <a:ext uri="{FF2B5EF4-FFF2-40B4-BE49-F238E27FC236}">
                  <a16:creationId xmlns:a16="http://schemas.microsoft.com/office/drawing/2014/main" id="{F74B6B9F-1E2D-4844-8588-1BB99F2F54CB}"/>
                </a:ext>
              </a:extLst>
            </p:cNvPr>
            <p:cNvSpPr/>
            <p:nvPr/>
          </p:nvSpPr>
          <p:spPr bwMode="auto">
            <a:xfrm>
              <a:off x="7112530" y="1"/>
              <a:ext cx="5079472" cy="4875873"/>
            </a:xfrm>
            <a:prstGeom prst="homePlate">
              <a:avLst>
                <a:gd name="adj" fmla="val 0"/>
              </a:avLst>
            </a:prstGeom>
            <a:gradFill>
              <a:gsLst>
                <a:gs pos="100000">
                  <a:schemeClr val="accent1">
                    <a:alpha val="0"/>
                  </a:schemeClr>
                </a:gs>
                <a:gs pos="61000">
                  <a:schemeClr val="accent1"/>
                </a:gs>
              </a:gsLst>
              <a:lin ang="5400000" scaled="1"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80160" tIns="2377440" rIns="54864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DA4E1250-C006-E44C-BAB1-9233C3A59C96}"/>
                </a:ext>
              </a:extLst>
            </p:cNvPr>
            <p:cNvSpPr txBox="1"/>
            <p:nvPr/>
          </p:nvSpPr>
          <p:spPr>
            <a:xfrm>
              <a:off x="8355562" y="1501648"/>
              <a:ext cx="3143205" cy="276998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-65" charset="0"/>
                </a:rPr>
                <a:t>As the “central nervous system” of J&amp;J, Global Services delivers advanced solutions, game-changing innovation, and improved user experiences to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-65" charset="0"/>
                </a:rPr>
                <a:t>all Johnson &amp; Johnson businesses, sectors and regions.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</p:grpSp>
      <p:sp>
        <p:nvSpPr>
          <p:cNvPr id="14" name="Pentagon 13">
            <a:extLst>
              <a:ext uri="{FF2B5EF4-FFF2-40B4-BE49-F238E27FC236}">
                <a16:creationId xmlns:a16="http://schemas.microsoft.com/office/drawing/2014/main" id="{FAD5D1FD-6FDF-AF48-9920-F9F5F5B407DA}"/>
              </a:ext>
            </a:extLst>
          </p:cNvPr>
          <p:cNvSpPr/>
          <p:nvPr/>
        </p:nvSpPr>
        <p:spPr bwMode="auto">
          <a:xfrm>
            <a:off x="0" y="2387"/>
            <a:ext cx="7863951" cy="5827064"/>
          </a:xfrm>
          <a:prstGeom prst="homePlate">
            <a:avLst>
              <a:gd name="adj" fmla="val 12634"/>
            </a:avLst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94360" tIns="45720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EAAFD8-9988-45B9-B5EF-B4136DE84E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EAAFD8-9988-45B9-B5EF-B4136DE84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1A110E-B722-4BC2-BE4C-D268D478563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32292" cy="132292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619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23667B6-8725-004B-B7BF-3D59E84545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868059"/>
            <a:ext cx="5743616" cy="492443"/>
          </a:xfrm>
        </p:spPr>
        <p:txBody>
          <a:bodyPr/>
          <a:lstStyle/>
          <a:p>
            <a:r>
              <a:rPr lang="en-US" sz="1600" dirty="0"/>
              <a:t>In addition to our in-scope services below, GS also invests </a:t>
            </a:r>
            <a:br>
              <a:rPr lang="en-US" sz="1600" dirty="0"/>
            </a:br>
            <a:r>
              <a:rPr lang="en-US" sz="1600" dirty="0"/>
              <a:t>resources to support enterprise transformational projects </a:t>
            </a:r>
          </a:p>
        </p:txBody>
      </p:sp>
      <p:sp>
        <p:nvSpPr>
          <p:cNvPr id="34" name="Title 6">
            <a:extLst>
              <a:ext uri="{FF2B5EF4-FFF2-40B4-BE49-F238E27FC236}">
                <a16:creationId xmlns:a16="http://schemas.microsoft.com/office/drawing/2014/main" id="{CE261735-414B-8C40-9FB6-544465319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78458"/>
            <a:ext cx="10141527" cy="430887"/>
          </a:xfrm>
        </p:spPr>
        <p:txBody>
          <a:bodyPr vert="horz"/>
          <a:lstStyle/>
          <a:p>
            <a:r>
              <a:rPr lang="en-US" sz="2800" dirty="0">
                <a:cs typeface="Arial" panose="020B0604020202020204" pitchFamily="34" charset="0"/>
              </a:rPr>
              <a:t>Global Services Scope</a:t>
            </a:r>
            <a:endParaRPr lang="en-US" sz="2800" spc="0" dirty="0">
              <a:cs typeface="Arial" panose="020B0604020202020204" pitchFamily="34" charset="0"/>
            </a:endParaRPr>
          </a:p>
        </p:txBody>
      </p:sp>
      <p:sp>
        <p:nvSpPr>
          <p:cNvPr id="111" name="Slide Number Placeholder 4">
            <a:extLst>
              <a:ext uri="{FF2B5EF4-FFF2-40B4-BE49-F238E27FC236}">
                <a16:creationId xmlns:a16="http://schemas.microsoft.com/office/drawing/2014/main" id="{40DA8CE6-6082-4BD3-B784-E9F499D9456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A001B"/>
                </a:solidFill>
                <a:effectLst/>
                <a:uLnTx/>
                <a:uFillTx/>
                <a:latin typeface="Arial"/>
                <a:ea typeface="ヒラギノ角ゴ ProN W3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A001B"/>
              </a:solidFill>
              <a:effectLst/>
              <a:uLnTx/>
              <a:uFillTx/>
              <a:latin typeface="Arial"/>
              <a:ea typeface="ヒラギノ角ゴ ProN W3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AE2DF64A-7B23-3346-B297-751EC3C35EB5}"/>
              </a:ext>
            </a:extLst>
          </p:cNvPr>
          <p:cNvGrpSpPr/>
          <p:nvPr/>
        </p:nvGrpSpPr>
        <p:grpSpPr>
          <a:xfrm>
            <a:off x="609597" y="4478632"/>
            <a:ext cx="6011321" cy="1018477"/>
            <a:chOff x="781727" y="1121313"/>
            <a:chExt cx="4847224" cy="1018477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8EBFDEE5-81F3-4641-A790-E09D2BC1AE3F}"/>
                </a:ext>
              </a:extLst>
            </p:cNvPr>
            <p:cNvSpPr txBox="1"/>
            <p:nvPr/>
          </p:nvSpPr>
          <p:spPr>
            <a:xfrm>
              <a:off x="781729" y="1121313"/>
              <a:ext cx="2457753" cy="1795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511175" rtl="0" eaLnBrk="1" fontAlgn="base" latinLnBrk="0" hangingPunct="1">
                <a:lnSpc>
                  <a:spcPts val="14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 pitchFamily="-65" charset="0"/>
                </a:rPr>
                <a:t>Common Services Foundation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9652ED2F-B35F-A04B-BA33-63F2FE4CB20D}"/>
                </a:ext>
              </a:extLst>
            </p:cNvPr>
            <p:cNvSpPr txBox="1"/>
            <p:nvPr/>
          </p:nvSpPr>
          <p:spPr>
            <a:xfrm>
              <a:off x="781727" y="1408519"/>
              <a:ext cx="4847224" cy="731271"/>
            </a:xfrm>
            <a:prstGeom prst="rect">
              <a:avLst/>
            </a:prstGeom>
            <a:noFill/>
          </p:spPr>
          <p:txBody>
            <a:bodyPr wrap="square" lIns="0" tIns="0" rIns="0" bIns="0" numCol="3" rtlCol="0">
              <a:noAutofit/>
            </a:bodyPr>
            <a:lstStyle/>
            <a:p>
              <a:pPr marL="119063" marR="0" lvl="0" indent="-112713" algn="l" defTabSz="511175" rtl="0" eaLnBrk="1" fontAlgn="base" latinLnBrk="0" hangingPunct="1">
                <a:lnSpc>
                  <a:spcPts val="125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Arial" pitchFamily="-65" charset="0"/>
                </a:rPr>
                <a:t>Change management &amp; comms</a:t>
              </a:r>
            </a:p>
            <a:p>
              <a:pPr marL="119063" marR="0" lvl="0" indent="-112713" algn="l" defTabSz="511175" rtl="0" eaLnBrk="1" fontAlgn="base" latinLnBrk="0" hangingPunct="1">
                <a:lnSpc>
                  <a:spcPts val="125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Arial" pitchFamily="-65" charset="0"/>
                </a:rPr>
                <a:t>Business engagement</a:t>
              </a:r>
            </a:p>
            <a:p>
              <a:pPr marL="119063" marR="0" lvl="0" indent="-112713" algn="l" defTabSz="511175" rtl="0" eaLnBrk="1" fontAlgn="base" latinLnBrk="0" hangingPunct="1">
                <a:lnSpc>
                  <a:spcPts val="125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Arial" pitchFamily="-65" charset="0"/>
                </a:rPr>
                <a:t>Value marketing</a:t>
              </a:r>
            </a:p>
            <a:p>
              <a:pPr marL="119063" marR="0" lvl="0" indent="-112713" algn="l" defTabSz="511175" rtl="0" eaLnBrk="1" fontAlgn="base" latinLnBrk="0" hangingPunct="1">
                <a:lnSpc>
                  <a:spcPts val="125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Arial" pitchFamily="-65" charset="0"/>
                </a:rPr>
                <a:t>Service experience</a:t>
              </a:r>
            </a:p>
            <a:p>
              <a:pPr marL="119063" marR="0" lvl="0" indent="-112713" algn="l" defTabSz="511175" rtl="0" eaLnBrk="1" fontAlgn="base" latinLnBrk="0" hangingPunct="1">
                <a:lnSpc>
                  <a:spcPts val="125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Arial" pitchFamily="-65" charset="0"/>
                </a:rPr>
                <a:t>Portfolio &amp; process management</a:t>
              </a:r>
            </a:p>
            <a:p>
              <a:pPr marL="119063" marR="0" lvl="0" indent="-112713" algn="l" defTabSz="511175" rtl="0" eaLnBrk="1" fontAlgn="base" latinLnBrk="0" hangingPunct="1">
                <a:lnSpc>
                  <a:spcPts val="125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Arial" pitchFamily="-65" charset="0"/>
                </a:rPr>
                <a:t>Service improvement </a:t>
              </a:r>
            </a:p>
            <a:p>
              <a:pPr marL="119063" marR="0" lvl="0" indent="-112713" algn="l" defTabSz="511175" rtl="0" eaLnBrk="1" fontAlgn="base" latinLnBrk="0" hangingPunct="1">
                <a:lnSpc>
                  <a:spcPts val="125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Arial" pitchFamily="-65" charset="0"/>
                </a:rPr>
                <a:t>Global site operations</a:t>
              </a:r>
            </a:p>
            <a:p>
              <a:pPr marL="119063" marR="0" lvl="0" indent="-112713" algn="l" defTabSz="511175" rtl="0" eaLnBrk="1" fontAlgn="base" latinLnBrk="0" hangingPunct="1">
                <a:lnSpc>
                  <a:spcPts val="125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Arial" pitchFamily="-65" charset="0"/>
                </a:rPr>
                <a:t>GS data strategy &amp; governance</a:t>
              </a:r>
            </a:p>
            <a:p>
              <a:pPr marL="119063" marR="0" lvl="0" indent="-112713" algn="l" defTabSz="511175" rtl="0" eaLnBrk="1" fontAlgn="base" latinLnBrk="0" hangingPunct="1">
                <a:lnSpc>
                  <a:spcPts val="125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Arial" pitchFamily="-65" charset="0"/>
                </a:rPr>
                <a:t>Reporting &amp; business insights</a:t>
              </a:r>
            </a:p>
            <a:p>
              <a:pPr marL="122238" marR="0" lvl="0" indent="-122238" algn="l" defTabSz="511175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Arial" pitchFamily="-65" charset="0"/>
                </a:rPr>
                <a:t>Acquisitions &amp; </a:t>
              </a:r>
              <a:b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Arial" pitchFamily="-65" charset="0"/>
                </a:rPr>
              </a:b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Arial" pitchFamily="-65" charset="0"/>
                </a:rPr>
                <a:t>Divestitures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BBCC624-9ACC-004D-848E-A368B0C82FB9}"/>
              </a:ext>
            </a:extLst>
          </p:cNvPr>
          <p:cNvGrpSpPr/>
          <p:nvPr/>
        </p:nvGrpSpPr>
        <p:grpSpPr>
          <a:xfrm>
            <a:off x="609599" y="1601076"/>
            <a:ext cx="5743617" cy="2828229"/>
            <a:chOff x="609599" y="1833993"/>
            <a:chExt cx="5743617" cy="2828229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09A9B06-EF5D-654B-B04F-73D354C238AE}"/>
                </a:ext>
              </a:extLst>
            </p:cNvPr>
            <p:cNvGrpSpPr/>
            <p:nvPr/>
          </p:nvGrpSpPr>
          <p:grpSpPr>
            <a:xfrm>
              <a:off x="609599" y="1833993"/>
              <a:ext cx="2573216" cy="1370299"/>
              <a:chOff x="895547" y="2073374"/>
              <a:chExt cx="2074910" cy="1370299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EA0356B-2200-4245-84F4-B8CBDF34AF04}"/>
                  </a:ext>
                </a:extLst>
              </p:cNvPr>
              <p:cNvSpPr txBox="1"/>
              <p:nvPr/>
            </p:nvSpPr>
            <p:spPr>
              <a:xfrm>
                <a:off x="895547" y="2073374"/>
                <a:ext cx="980388" cy="230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511175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1200" cap="none" spc="0" normalizeH="0" baseline="0" noProof="0">
                    <a:ln>
                      <a:noFill/>
                    </a:ln>
                    <a:solidFill>
                      <a:srgbClr val="C8102E"/>
                    </a:solidFill>
                    <a:effectLst/>
                    <a:uLnTx/>
                    <a:uFillTx/>
                    <a:latin typeface="Arial" pitchFamily="-65" charset="0"/>
                  </a:rPr>
                  <a:t>Finance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A391F7DD-5ED1-DE4A-9E16-D80B9DABD1C0}"/>
                  </a:ext>
                </a:extLst>
              </p:cNvPr>
              <p:cNvSpPr txBox="1"/>
              <p:nvPr/>
            </p:nvSpPr>
            <p:spPr>
              <a:xfrm>
                <a:off x="895547" y="2379108"/>
                <a:ext cx="2074910" cy="1064565"/>
              </a:xfrm>
              <a:prstGeom prst="rect">
                <a:avLst/>
              </a:prstGeom>
              <a:noFill/>
            </p:spPr>
            <p:txBody>
              <a:bodyPr wrap="square" lIns="0" tIns="0" rIns="0" bIns="0" numCol="2" rtlCol="0">
                <a:noAutofit/>
              </a:bodyPr>
              <a:lstStyle/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Account to Report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Invoice to Cash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Payroll / Time and Attendance</a:t>
                </a:r>
              </a:p>
              <a:p>
                <a:pPr marL="111125" marR="0" lvl="0" indent="-111125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 pitchFamily="-65" charset="0"/>
                </a:endParaRPr>
              </a:p>
              <a:p>
                <a:pPr marL="111125" marR="0" lvl="0" indent="-111125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Expense Reporting </a:t>
                </a:r>
                <a:b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</a:b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&amp; Reimbursement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Master Data </a:t>
                </a:r>
                <a:b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</a:b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Management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EE8501DF-EDBD-404C-AAF5-226E4324B3F4}"/>
                </a:ext>
              </a:extLst>
            </p:cNvPr>
            <p:cNvGrpSpPr/>
            <p:nvPr/>
          </p:nvGrpSpPr>
          <p:grpSpPr>
            <a:xfrm>
              <a:off x="3780000" y="1833993"/>
              <a:ext cx="2573216" cy="641053"/>
              <a:chOff x="895547" y="2073374"/>
              <a:chExt cx="2074910" cy="641053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E09C0410-93B4-1849-8F99-A997E5CA2139}"/>
                  </a:ext>
                </a:extLst>
              </p:cNvPr>
              <p:cNvSpPr txBox="1"/>
              <p:nvPr/>
            </p:nvSpPr>
            <p:spPr>
              <a:xfrm>
                <a:off x="895547" y="2073374"/>
                <a:ext cx="980388" cy="230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511175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1200" cap="none" spc="0" normalizeH="0" baseline="0" noProof="0">
                    <a:ln>
                      <a:noFill/>
                    </a:ln>
                    <a:solidFill>
                      <a:srgbClr val="C8102E"/>
                    </a:solidFill>
                    <a:effectLst/>
                    <a:uLnTx/>
                    <a:uFillTx/>
                    <a:latin typeface="Arial" pitchFamily="-65" charset="0"/>
                  </a:rPr>
                  <a:t>Procurement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E44679C0-D96F-8E4B-8664-EE86C9A01D69}"/>
                  </a:ext>
                </a:extLst>
              </p:cNvPr>
              <p:cNvSpPr txBox="1"/>
              <p:nvPr/>
            </p:nvSpPr>
            <p:spPr>
              <a:xfrm>
                <a:off x="895547" y="2379109"/>
                <a:ext cx="2074910" cy="335318"/>
              </a:xfrm>
              <a:prstGeom prst="rect">
                <a:avLst/>
              </a:prstGeom>
              <a:noFill/>
            </p:spPr>
            <p:txBody>
              <a:bodyPr wrap="square" lIns="0" tIns="0" rIns="0" bIns="0" numCol="2" rtlCol="0">
                <a:noAutofit/>
              </a:bodyPr>
              <a:lstStyle/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BPO Partner Governance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Source To Pay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Spend Analytics </a:t>
                </a:r>
                <a:b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</a:b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&amp; Reporting</a:t>
                </a: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4E86E6D-A2F2-854F-BADC-3A46991E71F7}"/>
                </a:ext>
              </a:extLst>
            </p:cNvPr>
            <p:cNvGrpSpPr/>
            <p:nvPr/>
          </p:nvGrpSpPr>
          <p:grpSpPr>
            <a:xfrm>
              <a:off x="609599" y="3387329"/>
              <a:ext cx="2573216" cy="859733"/>
              <a:chOff x="895547" y="1734399"/>
              <a:chExt cx="2074910" cy="859733"/>
            </a:xfrm>
          </p:grpSpPr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4B1574C8-02D1-A642-AC70-686B408D9C5C}"/>
                  </a:ext>
                </a:extLst>
              </p:cNvPr>
              <p:cNvSpPr txBox="1"/>
              <p:nvPr/>
            </p:nvSpPr>
            <p:spPr>
              <a:xfrm>
                <a:off x="895547" y="1734399"/>
                <a:ext cx="1357659" cy="230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511175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1200" cap="none" spc="0" normalizeH="0" baseline="0" noProof="0">
                    <a:ln>
                      <a:noFill/>
                    </a:ln>
                    <a:solidFill>
                      <a:srgbClr val="C8102E"/>
                    </a:solidFill>
                    <a:effectLst/>
                    <a:uLnTx/>
                    <a:uFillTx/>
                    <a:latin typeface="Arial" pitchFamily="-65" charset="0"/>
                  </a:rPr>
                  <a:t>Human Resources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30FC40B5-9646-A44C-A8D9-627F2C7EBB93}"/>
                  </a:ext>
                </a:extLst>
              </p:cNvPr>
              <p:cNvSpPr txBox="1"/>
              <p:nvPr/>
            </p:nvSpPr>
            <p:spPr>
              <a:xfrm>
                <a:off x="895547" y="2040134"/>
                <a:ext cx="2074910" cy="553998"/>
              </a:xfrm>
              <a:prstGeom prst="rect">
                <a:avLst/>
              </a:prstGeom>
              <a:noFill/>
            </p:spPr>
            <p:txBody>
              <a:bodyPr wrap="square" lIns="0" tIns="0" rIns="0" bIns="0" numCol="2" rtlCol="0">
                <a:noAutofit/>
              </a:bodyPr>
              <a:lstStyle/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7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Talent Acquisition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7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Learning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7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People Experience Operations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7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 pitchFamily="-65" charset="0"/>
                </a:endParaRP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7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Total Rewards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7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Employee Relations </a:t>
                </a:r>
                <a:b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</a:b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Management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7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 pitchFamily="-65" charset="0"/>
                </a:endParaRP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37340C1-89D8-8049-976A-B2B3DFD964D2}"/>
                </a:ext>
              </a:extLst>
            </p:cNvPr>
            <p:cNvGrpSpPr/>
            <p:nvPr/>
          </p:nvGrpSpPr>
          <p:grpSpPr>
            <a:xfrm>
              <a:off x="3780000" y="3387329"/>
              <a:ext cx="2573216" cy="1274893"/>
              <a:chOff x="895547" y="1734399"/>
              <a:chExt cx="2074910" cy="1274893"/>
            </a:xfrm>
          </p:grpSpPr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87141BC5-C1CC-F942-9DE0-0F044F4919C6}"/>
                  </a:ext>
                </a:extLst>
              </p:cNvPr>
              <p:cNvSpPr txBox="1"/>
              <p:nvPr/>
            </p:nvSpPr>
            <p:spPr>
              <a:xfrm>
                <a:off x="895547" y="1734399"/>
                <a:ext cx="1234161" cy="230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511175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1200" cap="none" spc="0" normalizeH="0" baseline="0" noProof="0">
                    <a:ln>
                      <a:noFill/>
                    </a:ln>
                    <a:solidFill>
                      <a:srgbClr val="C8102E"/>
                    </a:solidFill>
                    <a:effectLst/>
                    <a:uLnTx/>
                    <a:uFillTx/>
                    <a:latin typeface="Arial" pitchFamily="-65" charset="0"/>
                  </a:rPr>
                  <a:t>Multi-functional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EAC379A3-A6DA-6940-95A9-5EB05A60B8DE}"/>
                  </a:ext>
                </a:extLst>
              </p:cNvPr>
              <p:cNvSpPr txBox="1"/>
              <p:nvPr/>
            </p:nvSpPr>
            <p:spPr>
              <a:xfrm>
                <a:off x="895547" y="2040133"/>
                <a:ext cx="2074910" cy="969159"/>
              </a:xfrm>
              <a:prstGeom prst="rect">
                <a:avLst/>
              </a:prstGeom>
              <a:noFill/>
            </p:spPr>
            <p:txBody>
              <a:bodyPr wrap="square" lIns="0" tIns="0" rIns="0" bIns="0" numCol="2" rtlCol="0">
                <a:noAutofit/>
              </a:bodyPr>
              <a:lstStyle/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Business Continuity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BPO Supplier Management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Contact Center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 pitchFamily="-65" charset="0"/>
                </a:endParaRP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Enterprise </a:t>
                </a:r>
                <a:b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</a:b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Transformation </a:t>
                </a:r>
                <a:b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</a:b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 pitchFamily="-65" charset="0"/>
                  </a:rPr>
                  <a:t>Services </a:t>
                </a:r>
              </a:p>
              <a:p>
                <a:pPr marL="122238" marR="0" lvl="0" indent="-122238" algn="l" defTabSz="51117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 pitchFamily="-65" charset="0"/>
                </a:endParaRPr>
              </a:p>
            </p:txBody>
          </p:sp>
        </p:grp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E36E95C8-11E2-A842-BD54-E2828CF978C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420208" y="1833993"/>
              <a:ext cx="0" cy="1219513"/>
            </a:xfrm>
            <a:prstGeom prst="line">
              <a:avLst/>
            </a:prstGeom>
            <a:solidFill>
              <a:srgbClr val="C0C0C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D3A69083-77D5-1241-904D-974B5BB9BD6B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09599" y="3228576"/>
              <a:ext cx="5680009" cy="0"/>
            </a:xfrm>
            <a:prstGeom prst="line">
              <a:avLst/>
            </a:prstGeom>
            <a:solidFill>
              <a:srgbClr val="C0C0C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5E4F9A46-0B49-BA48-BF75-A2833AB01A4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420208" y="3406114"/>
              <a:ext cx="0" cy="1128154"/>
            </a:xfrm>
            <a:prstGeom prst="line">
              <a:avLst/>
            </a:prstGeom>
            <a:solidFill>
              <a:srgbClr val="C0C0C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70670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we are and what we d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9B2CB72-0CE7-4368-9D92-9AD1005B9A76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marL="0" marR="0" lvl="0" indent="0" algn="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8102E"/>
                </a:solidFill>
                <a:effectLst/>
                <a:uLnTx/>
                <a:uFillTx/>
                <a:latin typeface="Arial"/>
              </a:rPr>
              <a:pPr marL="0" marR="0" lvl="0" indent="0" algn="r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8102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99BDC9D-C369-43A5-9EAB-F5D62E2695B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09599" y="1713180"/>
            <a:ext cx="3932584" cy="4206240"/>
          </a:xfrm>
        </p:spPr>
        <p:txBody>
          <a:bodyPr/>
          <a:lstStyle/>
          <a:p>
            <a:pPr marL="0" indent="0">
              <a:buNone/>
            </a:pPr>
            <a:r>
              <a:rPr lang="en-US" sz="2000" b="1" dirty="0"/>
              <a:t>Global Content Strategy</a:t>
            </a:r>
          </a:p>
          <a:p>
            <a:r>
              <a:rPr lang="en-US" sz="2000" dirty="0"/>
              <a:t>We are team of </a:t>
            </a:r>
            <a:r>
              <a:rPr lang="en-US" sz="2000" b="1" dirty="0"/>
              <a:t>14</a:t>
            </a:r>
            <a:r>
              <a:rPr lang="en-US" sz="2000" dirty="0"/>
              <a:t> people</a:t>
            </a:r>
          </a:p>
          <a:p>
            <a:r>
              <a:rPr lang="en-US" sz="2000" b="1" dirty="0"/>
              <a:t>4</a:t>
            </a:r>
            <a:r>
              <a:rPr lang="en-US" sz="2000" dirty="0"/>
              <a:t> in the U.S. and </a:t>
            </a:r>
            <a:r>
              <a:rPr lang="en-US" sz="2000" b="1" dirty="0"/>
              <a:t>10 </a:t>
            </a:r>
            <a:r>
              <a:rPr lang="en-US" sz="2000" dirty="0"/>
              <a:t>in Manila</a:t>
            </a:r>
          </a:p>
          <a:p>
            <a:r>
              <a:rPr lang="en-US" sz="2000" b="1" dirty="0"/>
              <a:t>18,000</a:t>
            </a:r>
            <a:r>
              <a:rPr lang="en-US" sz="2000" dirty="0"/>
              <a:t> knowledge articles globally</a:t>
            </a:r>
          </a:p>
          <a:p>
            <a:r>
              <a:rPr lang="en-US" sz="2000" b="1" dirty="0"/>
              <a:t>800 - 1,000</a:t>
            </a:r>
            <a:r>
              <a:rPr lang="en-US" sz="2000" dirty="0"/>
              <a:t> requests per quarter</a:t>
            </a:r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5" name="Picture 4" descr="A group of people sitting at a table with food&#10;&#10;Description automatically generated with medium confidence">
            <a:extLst>
              <a:ext uri="{FF2B5EF4-FFF2-40B4-BE49-F238E27FC236}">
                <a16:creationId xmlns:a16="http://schemas.microsoft.com/office/drawing/2014/main" id="{DB2244B6-A0AD-4F43-AAF2-28BA406388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3386" y="1203772"/>
            <a:ext cx="6450614" cy="48463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2385724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5367" y="378457"/>
            <a:ext cx="10145760" cy="461665"/>
          </a:xfrm>
        </p:spPr>
        <p:txBody>
          <a:bodyPr/>
          <a:lstStyle/>
          <a:p>
            <a:r>
              <a:rPr lang="en-US" dirty="0"/>
              <a:t>What I’m going to cover today </a:t>
            </a:r>
          </a:p>
        </p:txBody>
      </p:sp>
      <p:graphicFrame>
        <p:nvGraphicFramePr>
          <p:cNvPr id="27" name="Content Placeholder 26">
            <a:extLst>
              <a:ext uri="{FF2B5EF4-FFF2-40B4-BE49-F238E27FC236}">
                <a16:creationId xmlns:a16="http://schemas.microsoft.com/office/drawing/2014/main" id="{2836ED41-B8D6-0343-9E8E-E934EEF7775B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3679993412"/>
              </p:ext>
            </p:extLst>
          </p:nvPr>
        </p:nvGraphicFramePr>
        <p:xfrm>
          <a:off x="0" y="1722745"/>
          <a:ext cx="9222658" cy="3730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5105">
                  <a:extLst>
                    <a:ext uri="{9D8B030D-6E8A-4147-A177-3AD203B41FA5}">
                      <a16:colId xmlns:a16="http://schemas.microsoft.com/office/drawing/2014/main" val="2330811068"/>
                    </a:ext>
                  </a:extLst>
                </a:gridCol>
                <a:gridCol w="7867553">
                  <a:extLst>
                    <a:ext uri="{9D8B030D-6E8A-4147-A177-3AD203B41FA5}">
                      <a16:colId xmlns:a16="http://schemas.microsoft.com/office/drawing/2014/main" val="1201562760"/>
                    </a:ext>
                  </a:extLst>
                </a:gridCol>
              </a:tblGrid>
              <a:tr h="62179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121832" marR="121832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Where we started</a:t>
                      </a:r>
                    </a:p>
                  </a:txBody>
                  <a:tcPr marL="181633" marR="84402" marT="41954" marB="41954" anchor="ctr" horzOverflow="overflow">
                    <a:lnB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328275"/>
                  </a:ext>
                </a:extLst>
              </a:tr>
              <a:tr h="62179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121832" marR="121832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Our transformation journey</a:t>
                      </a:r>
                    </a:p>
                  </a:txBody>
                  <a:tcPr marL="181633" marR="84402" marT="41954" marB="41954" anchor="ctr" horzOverflow="overflow">
                    <a:lnT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287263"/>
                  </a:ext>
                </a:extLst>
              </a:tr>
              <a:tr h="62179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121832" marR="121832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Key outcomes</a:t>
                      </a:r>
                    </a:p>
                  </a:txBody>
                  <a:tcPr marL="181633" marR="84402" marT="41954" marB="41954" anchor="ctr" horzOverflow="overflow">
                    <a:lnT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298694"/>
                  </a:ext>
                </a:extLst>
              </a:tr>
              <a:tr h="62179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121832" marR="121832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Five pillars of </a:t>
                      </a:r>
                      <a:r>
                        <a:rPr kumimoji="0" 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an impactful </a:t>
                      </a: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content team</a:t>
                      </a:r>
                    </a:p>
                  </a:txBody>
                  <a:tcPr marL="181633" marR="84402" marT="41954" marB="41954" anchor="ctr" horzOverflow="overflow">
                    <a:lnT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759144"/>
                  </a:ext>
                </a:extLst>
              </a:tr>
              <a:tr h="62179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121832" marR="121832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Closing</a:t>
                      </a:r>
                    </a:p>
                  </a:txBody>
                  <a:tcPr marL="181633" marR="84402" marT="41954" marB="41954" anchor="ctr" horzOverflow="overflow">
                    <a:lnT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7244380"/>
                  </a:ext>
                </a:extLst>
              </a:tr>
              <a:tr h="62179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121832" marR="121832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L="181633" marR="84402" marT="41954" marB="41954" anchor="ctr" horzOverflow="overflow">
                    <a:lnT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2135588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D0DF19-2A66-4B55-885D-2BBF6663055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643919" y="6219717"/>
            <a:ext cx="454400" cy="333375"/>
          </a:xfrm>
        </p:spPr>
        <p:txBody>
          <a:bodyPr/>
          <a:lstStyle/>
          <a:p>
            <a:fld id="{AD816501-AAE5-214E-B100-00C3DC5F5E3F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431C805-E169-4650-91BE-25E06DCC6EB6}"/>
              </a:ext>
            </a:extLst>
          </p:cNvPr>
          <p:cNvSpPr/>
          <p:nvPr/>
        </p:nvSpPr>
        <p:spPr bwMode="auto">
          <a:xfrm>
            <a:off x="833240" y="1861714"/>
            <a:ext cx="310896" cy="310896"/>
          </a:xfrm>
          <a:prstGeom prst="ellipse">
            <a:avLst/>
          </a:prstGeom>
          <a:noFill/>
          <a:ln w="317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accent3"/>
                </a:solidFill>
                <a:effectLst/>
                <a:latin typeface="+mn-lt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1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BEF13FC-AEE9-48D9-921B-60CFEF8603DA}"/>
              </a:ext>
            </a:extLst>
          </p:cNvPr>
          <p:cNvSpPr/>
          <p:nvPr/>
        </p:nvSpPr>
        <p:spPr bwMode="auto">
          <a:xfrm>
            <a:off x="833240" y="2478151"/>
            <a:ext cx="310896" cy="310896"/>
          </a:xfrm>
          <a:prstGeom prst="ellipse">
            <a:avLst/>
          </a:prstGeom>
          <a:noFill/>
          <a:ln w="317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>
                <a:ln>
                  <a:noFill/>
                </a:ln>
                <a:solidFill>
                  <a:schemeClr val="accent3"/>
                </a:solidFill>
                <a:effectLst/>
                <a:latin typeface="+mn-lt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2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3F8F9DC-1883-429F-8B0E-3FDBBE8518DF}"/>
              </a:ext>
            </a:extLst>
          </p:cNvPr>
          <p:cNvSpPr/>
          <p:nvPr/>
        </p:nvSpPr>
        <p:spPr bwMode="auto">
          <a:xfrm>
            <a:off x="833240" y="3094588"/>
            <a:ext cx="310896" cy="310896"/>
          </a:xfrm>
          <a:prstGeom prst="ellipse">
            <a:avLst/>
          </a:prstGeom>
          <a:noFill/>
          <a:ln w="317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>
                <a:ln>
                  <a:noFill/>
                </a:ln>
                <a:solidFill>
                  <a:schemeClr val="accent3"/>
                </a:solidFill>
                <a:effectLst/>
                <a:latin typeface="+mn-lt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3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72FE03C-FA3F-47BE-AE5B-448AC281F978}"/>
              </a:ext>
            </a:extLst>
          </p:cNvPr>
          <p:cNvSpPr/>
          <p:nvPr/>
        </p:nvSpPr>
        <p:spPr bwMode="auto">
          <a:xfrm>
            <a:off x="833240" y="3711025"/>
            <a:ext cx="310896" cy="310896"/>
          </a:xfrm>
          <a:prstGeom prst="ellipse">
            <a:avLst/>
          </a:prstGeom>
          <a:noFill/>
          <a:ln w="317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>
                <a:ln>
                  <a:noFill/>
                </a:ln>
                <a:solidFill>
                  <a:schemeClr val="accent3"/>
                </a:solidFill>
                <a:effectLst/>
                <a:latin typeface="+mn-lt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4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6BCCD0D-03C4-417D-A973-91BC816E0680}"/>
              </a:ext>
            </a:extLst>
          </p:cNvPr>
          <p:cNvSpPr/>
          <p:nvPr/>
        </p:nvSpPr>
        <p:spPr bwMode="auto">
          <a:xfrm>
            <a:off x="833240" y="4327461"/>
            <a:ext cx="310896" cy="310896"/>
          </a:xfrm>
          <a:prstGeom prst="ellipse">
            <a:avLst/>
          </a:prstGeom>
          <a:noFill/>
          <a:ln w="317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>
                <a:ln>
                  <a:noFill/>
                </a:ln>
                <a:solidFill>
                  <a:schemeClr val="accent3"/>
                </a:solidFill>
                <a:effectLst/>
                <a:latin typeface="+mn-lt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877676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we start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38541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599" y="378458"/>
            <a:ext cx="11288487" cy="461665"/>
          </a:xfrm>
        </p:spPr>
        <p:txBody>
          <a:bodyPr/>
          <a:lstStyle/>
          <a:p>
            <a:r>
              <a:rPr lang="en-US" dirty="0"/>
              <a:t>What our users were saying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1818F82-F24F-41C8-9926-36D274EBA3A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D816501-AAE5-214E-B100-00C3DC5F5E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8102E"/>
                </a:solidFill>
                <a:effectLst/>
                <a:uLnTx/>
                <a:uFillTx/>
                <a:latin typeface="Arial"/>
              </a:rPr>
              <a:pPr marL="0" marR="0" lvl="0" indent="0" algn="r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8102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C2B8106-6293-41A9-A9D5-7711D0C7487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6130" y="1398289"/>
            <a:ext cx="5302670" cy="4206240"/>
          </a:xfrm>
        </p:spPr>
        <p:txBody>
          <a:bodyPr/>
          <a:lstStyle/>
          <a:p>
            <a:r>
              <a:rPr lang="en-US" b="1" dirty="0"/>
              <a:t>58%</a:t>
            </a:r>
            <a:r>
              <a:rPr lang="en-US" dirty="0"/>
              <a:t> of our content had less than 10 views</a:t>
            </a:r>
          </a:p>
          <a:p>
            <a:r>
              <a:rPr lang="en-US" b="1" dirty="0"/>
              <a:t>53%</a:t>
            </a:r>
            <a:r>
              <a:rPr lang="en-US" dirty="0"/>
              <a:t> of users said that they’ve either tried unsuccessfully or have never tried to use content to self-serve</a:t>
            </a:r>
          </a:p>
          <a:p>
            <a:r>
              <a:rPr lang="en-US" b="1" dirty="0"/>
              <a:t>19%</a:t>
            </a:r>
            <a:r>
              <a:rPr lang="en-US" dirty="0"/>
              <a:t> of users said that it’s not clear to them how they can use content to self-serve</a:t>
            </a: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1A1094A7-6288-49D3-BE84-A836EE51F185}"/>
              </a:ext>
            </a:extLst>
          </p:cNvPr>
          <p:cNvSpPr txBox="1">
            <a:spLocks/>
          </p:cNvSpPr>
          <p:nvPr/>
        </p:nvSpPr>
        <p:spPr bwMode="auto">
          <a:xfrm>
            <a:off x="6072899" y="1293151"/>
            <a:ext cx="5825187" cy="42062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2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 marL="457200" indent="-2286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20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2pPr>
            <a:lvl3pPr marL="73152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•"/>
              <a:defRPr sz="18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3pPr>
            <a:lvl4pPr marL="1097280" indent="-20116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–"/>
              <a:defRPr sz="15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4pPr>
            <a:lvl5pPr marL="1487964" indent="-19113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3666A"/>
              </a:buClr>
              <a:buSzPct val="100000"/>
              <a:buFont typeface="Arial" pitchFamily="-65" charset="0"/>
              <a:buChar char="»"/>
              <a:defRPr sz="130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5pPr>
            <a:lvl6pPr marL="1776223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6pPr>
            <a:lvl7pPr marL="2064259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7pPr>
            <a:lvl8pPr marL="2352295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8pPr>
            <a:lvl9pPr marL="2640331" indent="-192024" algn="l" rtl="0" eaLnBrk="1" fontAlgn="base" hangingPunct="1">
              <a:spcBef>
                <a:spcPts val="379"/>
              </a:spcBef>
              <a:spcAft>
                <a:spcPct val="0"/>
              </a:spcAft>
              <a:buSzPct val="100000"/>
              <a:buFont typeface="Arial" pitchFamily="-110" charset="0"/>
              <a:buChar char="»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10" charset="0"/>
              </a:defRPr>
            </a:lvl9pPr>
          </a:lstStyle>
          <a:p>
            <a:pPr marL="0" indent="0" defTabSz="914400">
              <a:buNone/>
            </a:pPr>
            <a:r>
              <a:rPr lang="en-US" b="1" kern="0" dirty="0">
                <a:solidFill>
                  <a:srgbClr val="1E22AA"/>
                </a:solidFill>
              </a:rPr>
              <a:t>Our users weren’t happy</a:t>
            </a:r>
          </a:p>
          <a:p>
            <a:pPr defTabSz="914400"/>
            <a:r>
              <a:rPr lang="en-US" kern="0" dirty="0"/>
              <a:t>I can’t find anything</a:t>
            </a:r>
          </a:p>
          <a:p>
            <a:pPr defTabSz="914400"/>
            <a:r>
              <a:rPr lang="en-US" kern="0" dirty="0"/>
              <a:t>Content isn’t up to date</a:t>
            </a:r>
          </a:p>
          <a:p>
            <a:pPr defTabSz="914400"/>
            <a:r>
              <a:rPr lang="en-US" kern="0" dirty="0"/>
              <a:t>Unintuitive search and filtering</a:t>
            </a:r>
          </a:p>
          <a:p>
            <a:pPr defTabSz="914400"/>
            <a:r>
              <a:rPr lang="en-US" kern="0" dirty="0"/>
              <a:t>Gaps in content</a:t>
            </a:r>
          </a:p>
          <a:p>
            <a:pPr defTabSz="914400"/>
            <a:r>
              <a:rPr lang="en-US" kern="0" dirty="0"/>
              <a:t>Too much jargon and unclear terminology</a:t>
            </a:r>
          </a:p>
          <a:p>
            <a:pPr marL="0" indent="0" defTabSz="914400">
              <a:buNone/>
            </a:pPr>
            <a:endParaRPr lang="en-US" kern="0" dirty="0"/>
          </a:p>
          <a:p>
            <a:pPr defTabSz="914400"/>
            <a:endParaRPr lang="en-US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582700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transformation journe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910362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1" name="Group 160">
            <a:extLst>
              <a:ext uri="{FF2B5EF4-FFF2-40B4-BE49-F238E27FC236}">
                <a16:creationId xmlns:a16="http://schemas.microsoft.com/office/drawing/2014/main" id="{9C5FE36F-B3E4-25EC-BCEF-4751F5A4F6A0}"/>
              </a:ext>
            </a:extLst>
          </p:cNvPr>
          <p:cNvGrpSpPr/>
          <p:nvPr/>
        </p:nvGrpSpPr>
        <p:grpSpPr>
          <a:xfrm flipH="1">
            <a:off x="-1346537" y="-1629367"/>
            <a:ext cx="4893633" cy="4886798"/>
            <a:chOff x="5443380" y="-1742672"/>
            <a:chExt cx="8617900" cy="8600672"/>
          </a:xfrm>
        </p:grpSpPr>
        <p:sp>
          <p:nvSpPr>
            <p:cNvPr id="162" name="Freeform: Shape 12">
              <a:extLst>
                <a:ext uri="{FF2B5EF4-FFF2-40B4-BE49-F238E27FC236}">
                  <a16:creationId xmlns:a16="http://schemas.microsoft.com/office/drawing/2014/main" id="{ED0F6608-D933-6FE5-A742-F33E2BE8F42E}"/>
                </a:ext>
              </a:extLst>
            </p:cNvPr>
            <p:cNvSpPr/>
            <p:nvPr/>
          </p:nvSpPr>
          <p:spPr>
            <a:xfrm>
              <a:off x="5443380" y="919184"/>
              <a:ext cx="2224126" cy="2262911"/>
            </a:xfrm>
            <a:custGeom>
              <a:avLst/>
              <a:gdLst>
                <a:gd name="connsiteX0" fmla="*/ 653958 w 653957"/>
                <a:gd name="connsiteY0" fmla="*/ 657418 h 665363"/>
                <a:gd name="connsiteX1" fmla="*/ 0 w 653957"/>
                <a:gd name="connsiteY1" fmla="*/ 0 h 665363"/>
                <a:gd name="connsiteX2" fmla="*/ 0 w 653957"/>
                <a:gd name="connsiteY2" fmla="*/ 255462 h 665363"/>
                <a:gd name="connsiteX3" fmla="*/ 398420 w 653957"/>
                <a:gd name="connsiteY3" fmla="*/ 657418 h 665363"/>
                <a:gd name="connsiteX4" fmla="*/ 398116 w 653957"/>
                <a:gd name="connsiteY4" fmla="*/ 668824 h 665363"/>
                <a:gd name="connsiteX5" fmla="*/ 653654 w 653957"/>
                <a:gd name="connsiteY5" fmla="*/ 668824 h 665363"/>
                <a:gd name="connsiteX6" fmla="*/ 653958 w 653957"/>
                <a:gd name="connsiteY6" fmla="*/ 657418 h 66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3957" h="665363">
                  <a:moveTo>
                    <a:pt x="653958" y="657418"/>
                  </a:moveTo>
                  <a:cubicBezTo>
                    <a:pt x="653900" y="295709"/>
                    <a:pt x="361704" y="1966"/>
                    <a:pt x="0" y="0"/>
                  </a:cubicBezTo>
                  <a:lnTo>
                    <a:pt x="0" y="255462"/>
                  </a:lnTo>
                  <a:cubicBezTo>
                    <a:pt x="220595" y="257444"/>
                    <a:pt x="398387" y="436814"/>
                    <a:pt x="398420" y="657418"/>
                  </a:cubicBezTo>
                  <a:cubicBezTo>
                    <a:pt x="398420" y="661220"/>
                    <a:pt x="398230" y="665022"/>
                    <a:pt x="398116" y="668824"/>
                  </a:cubicBezTo>
                  <a:lnTo>
                    <a:pt x="653654" y="668824"/>
                  </a:lnTo>
                  <a:cubicBezTo>
                    <a:pt x="653730" y="664946"/>
                    <a:pt x="653958" y="661220"/>
                    <a:pt x="653958" y="65741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itchFamily="-65" charset="0"/>
              </a:endParaRPr>
            </a:p>
          </p:txBody>
        </p:sp>
        <p:sp>
          <p:nvSpPr>
            <p:cNvPr id="163" name="Freeform: Shape 13">
              <a:extLst>
                <a:ext uri="{FF2B5EF4-FFF2-40B4-BE49-F238E27FC236}">
                  <a16:creationId xmlns:a16="http://schemas.microsoft.com/office/drawing/2014/main" id="{96D29756-D5D4-B352-6D68-E7DDE7B043F0}"/>
                </a:ext>
              </a:extLst>
            </p:cNvPr>
            <p:cNvSpPr/>
            <p:nvPr/>
          </p:nvSpPr>
          <p:spPr>
            <a:xfrm>
              <a:off x="6389604" y="0"/>
              <a:ext cx="2224126" cy="2262911"/>
            </a:xfrm>
            <a:custGeom>
              <a:avLst/>
              <a:gdLst>
                <a:gd name="connsiteX0" fmla="*/ 0 w 653957"/>
                <a:gd name="connsiteY0" fmla="*/ 11406 h 665363"/>
                <a:gd name="connsiteX1" fmla="*/ 653958 w 653957"/>
                <a:gd name="connsiteY1" fmla="*/ 668900 h 665363"/>
                <a:gd name="connsiteX2" fmla="*/ 653958 w 653957"/>
                <a:gd name="connsiteY2" fmla="*/ 413400 h 665363"/>
                <a:gd name="connsiteX3" fmla="*/ 255348 w 653957"/>
                <a:gd name="connsiteY3" fmla="*/ 11406 h 665363"/>
                <a:gd name="connsiteX4" fmla="*/ 255652 w 653957"/>
                <a:gd name="connsiteY4" fmla="*/ 0 h 665363"/>
                <a:gd name="connsiteX5" fmla="*/ 0 w 653957"/>
                <a:gd name="connsiteY5" fmla="*/ 0 h 665363"/>
                <a:gd name="connsiteX6" fmla="*/ 0 w 653957"/>
                <a:gd name="connsiteY6" fmla="*/ 11406 h 66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3957" h="665363">
                  <a:moveTo>
                    <a:pt x="0" y="11406"/>
                  </a:moveTo>
                  <a:cubicBezTo>
                    <a:pt x="16" y="373145"/>
                    <a:pt x="292224" y="666934"/>
                    <a:pt x="653958" y="668900"/>
                  </a:cubicBezTo>
                  <a:lnTo>
                    <a:pt x="653958" y="413400"/>
                  </a:lnTo>
                  <a:cubicBezTo>
                    <a:pt x="433283" y="411501"/>
                    <a:pt x="255381" y="232089"/>
                    <a:pt x="255348" y="11406"/>
                  </a:cubicBezTo>
                  <a:cubicBezTo>
                    <a:pt x="255348" y="7604"/>
                    <a:pt x="255348" y="3802"/>
                    <a:pt x="255652" y="0"/>
                  </a:cubicBezTo>
                  <a:lnTo>
                    <a:pt x="0" y="0"/>
                  </a:lnTo>
                  <a:cubicBezTo>
                    <a:pt x="0" y="3878"/>
                    <a:pt x="0" y="7604"/>
                    <a:pt x="0" y="1140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itchFamily="-65" charset="0"/>
              </a:endParaRPr>
            </a:p>
          </p:txBody>
        </p:sp>
        <p:sp>
          <p:nvSpPr>
            <p:cNvPr id="164" name="Freeform: Shape 14">
              <a:extLst>
                <a:ext uri="{FF2B5EF4-FFF2-40B4-BE49-F238E27FC236}">
                  <a16:creationId xmlns:a16="http://schemas.microsoft.com/office/drawing/2014/main" id="{54A7DF0F-ABF7-442F-A6F1-F3CB905BB811}"/>
                </a:ext>
              </a:extLst>
            </p:cNvPr>
            <p:cNvSpPr/>
            <p:nvPr/>
          </p:nvSpPr>
          <p:spPr>
            <a:xfrm>
              <a:off x="8613730" y="1412996"/>
              <a:ext cx="2224126" cy="2262911"/>
            </a:xfrm>
            <a:custGeom>
              <a:avLst/>
              <a:gdLst>
                <a:gd name="connsiteX0" fmla="*/ 653958 w 653957"/>
                <a:gd name="connsiteY0" fmla="*/ 657418 h 665363"/>
                <a:gd name="connsiteX1" fmla="*/ 0 w 653957"/>
                <a:gd name="connsiteY1" fmla="*/ 0 h 665363"/>
                <a:gd name="connsiteX2" fmla="*/ 0 w 653957"/>
                <a:gd name="connsiteY2" fmla="*/ 255462 h 665363"/>
                <a:gd name="connsiteX3" fmla="*/ 398420 w 653957"/>
                <a:gd name="connsiteY3" fmla="*/ 657418 h 665363"/>
                <a:gd name="connsiteX4" fmla="*/ 398116 w 653957"/>
                <a:gd name="connsiteY4" fmla="*/ 668824 h 665363"/>
                <a:gd name="connsiteX5" fmla="*/ 653654 w 653957"/>
                <a:gd name="connsiteY5" fmla="*/ 668824 h 665363"/>
                <a:gd name="connsiteX6" fmla="*/ 653958 w 653957"/>
                <a:gd name="connsiteY6" fmla="*/ 657418 h 66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3957" h="665363">
                  <a:moveTo>
                    <a:pt x="653958" y="657418"/>
                  </a:moveTo>
                  <a:cubicBezTo>
                    <a:pt x="653900" y="295709"/>
                    <a:pt x="361704" y="1966"/>
                    <a:pt x="0" y="0"/>
                  </a:cubicBezTo>
                  <a:lnTo>
                    <a:pt x="0" y="255462"/>
                  </a:lnTo>
                  <a:cubicBezTo>
                    <a:pt x="220595" y="257444"/>
                    <a:pt x="398387" y="436814"/>
                    <a:pt x="398420" y="657418"/>
                  </a:cubicBezTo>
                  <a:cubicBezTo>
                    <a:pt x="398420" y="661220"/>
                    <a:pt x="398230" y="665022"/>
                    <a:pt x="398116" y="668824"/>
                  </a:cubicBezTo>
                  <a:lnTo>
                    <a:pt x="653654" y="668824"/>
                  </a:lnTo>
                  <a:cubicBezTo>
                    <a:pt x="653730" y="664946"/>
                    <a:pt x="653958" y="661220"/>
                    <a:pt x="653958" y="65741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itchFamily="-65" charset="0"/>
              </a:endParaRPr>
            </a:p>
          </p:txBody>
        </p:sp>
        <p:sp>
          <p:nvSpPr>
            <p:cNvPr id="165" name="Freeform: Shape 15">
              <a:extLst>
                <a:ext uri="{FF2B5EF4-FFF2-40B4-BE49-F238E27FC236}">
                  <a16:creationId xmlns:a16="http://schemas.microsoft.com/office/drawing/2014/main" id="{952E655C-6ADA-DF8C-C595-83847C391318}"/>
                </a:ext>
              </a:extLst>
            </p:cNvPr>
            <p:cNvSpPr/>
            <p:nvPr/>
          </p:nvSpPr>
          <p:spPr>
            <a:xfrm>
              <a:off x="9021650" y="4595089"/>
              <a:ext cx="2224126" cy="2262911"/>
            </a:xfrm>
            <a:custGeom>
              <a:avLst/>
              <a:gdLst>
                <a:gd name="connsiteX0" fmla="*/ 653958 w 653957"/>
                <a:gd name="connsiteY0" fmla="*/ 657418 h 665363"/>
                <a:gd name="connsiteX1" fmla="*/ 0 w 653957"/>
                <a:gd name="connsiteY1" fmla="*/ 0 h 665363"/>
                <a:gd name="connsiteX2" fmla="*/ 0 w 653957"/>
                <a:gd name="connsiteY2" fmla="*/ 255462 h 665363"/>
                <a:gd name="connsiteX3" fmla="*/ 398420 w 653957"/>
                <a:gd name="connsiteY3" fmla="*/ 657418 h 665363"/>
                <a:gd name="connsiteX4" fmla="*/ 398116 w 653957"/>
                <a:gd name="connsiteY4" fmla="*/ 668824 h 665363"/>
                <a:gd name="connsiteX5" fmla="*/ 653654 w 653957"/>
                <a:gd name="connsiteY5" fmla="*/ 668824 h 665363"/>
                <a:gd name="connsiteX6" fmla="*/ 653958 w 653957"/>
                <a:gd name="connsiteY6" fmla="*/ 657418 h 66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3957" h="665363">
                  <a:moveTo>
                    <a:pt x="653958" y="657418"/>
                  </a:moveTo>
                  <a:cubicBezTo>
                    <a:pt x="653900" y="295709"/>
                    <a:pt x="361704" y="1966"/>
                    <a:pt x="0" y="0"/>
                  </a:cubicBezTo>
                  <a:lnTo>
                    <a:pt x="0" y="255462"/>
                  </a:lnTo>
                  <a:cubicBezTo>
                    <a:pt x="220595" y="257444"/>
                    <a:pt x="398387" y="436814"/>
                    <a:pt x="398420" y="657418"/>
                  </a:cubicBezTo>
                  <a:cubicBezTo>
                    <a:pt x="398420" y="661220"/>
                    <a:pt x="398230" y="665022"/>
                    <a:pt x="398116" y="668824"/>
                  </a:cubicBezTo>
                  <a:lnTo>
                    <a:pt x="653654" y="668824"/>
                  </a:lnTo>
                  <a:cubicBezTo>
                    <a:pt x="653730" y="664946"/>
                    <a:pt x="653958" y="661220"/>
                    <a:pt x="653958" y="65741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itchFamily="-65" charset="0"/>
              </a:endParaRPr>
            </a:p>
          </p:txBody>
        </p:sp>
        <p:sp>
          <p:nvSpPr>
            <p:cNvPr id="166" name="Freeform: Shape 16">
              <a:extLst>
                <a:ext uri="{FF2B5EF4-FFF2-40B4-BE49-F238E27FC236}">
                  <a16:creationId xmlns:a16="http://schemas.microsoft.com/office/drawing/2014/main" id="{9B823551-D2AE-D75A-7788-7D4598F7A8A8}"/>
                </a:ext>
              </a:extLst>
            </p:cNvPr>
            <p:cNvSpPr/>
            <p:nvPr/>
          </p:nvSpPr>
          <p:spPr>
            <a:xfrm>
              <a:off x="9967874" y="3675905"/>
              <a:ext cx="2224126" cy="2262911"/>
            </a:xfrm>
            <a:custGeom>
              <a:avLst/>
              <a:gdLst>
                <a:gd name="connsiteX0" fmla="*/ 0 w 653957"/>
                <a:gd name="connsiteY0" fmla="*/ 11406 h 665363"/>
                <a:gd name="connsiteX1" fmla="*/ 653958 w 653957"/>
                <a:gd name="connsiteY1" fmla="*/ 668900 h 665363"/>
                <a:gd name="connsiteX2" fmla="*/ 653958 w 653957"/>
                <a:gd name="connsiteY2" fmla="*/ 413400 h 665363"/>
                <a:gd name="connsiteX3" fmla="*/ 255348 w 653957"/>
                <a:gd name="connsiteY3" fmla="*/ 11406 h 665363"/>
                <a:gd name="connsiteX4" fmla="*/ 255652 w 653957"/>
                <a:gd name="connsiteY4" fmla="*/ 0 h 665363"/>
                <a:gd name="connsiteX5" fmla="*/ 0 w 653957"/>
                <a:gd name="connsiteY5" fmla="*/ 0 h 665363"/>
                <a:gd name="connsiteX6" fmla="*/ 0 w 653957"/>
                <a:gd name="connsiteY6" fmla="*/ 11406 h 66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3957" h="665363">
                  <a:moveTo>
                    <a:pt x="0" y="11406"/>
                  </a:moveTo>
                  <a:cubicBezTo>
                    <a:pt x="16" y="373145"/>
                    <a:pt x="292224" y="666934"/>
                    <a:pt x="653958" y="668900"/>
                  </a:cubicBezTo>
                  <a:lnTo>
                    <a:pt x="653958" y="413400"/>
                  </a:lnTo>
                  <a:cubicBezTo>
                    <a:pt x="433283" y="411501"/>
                    <a:pt x="255381" y="232089"/>
                    <a:pt x="255348" y="11406"/>
                  </a:cubicBezTo>
                  <a:cubicBezTo>
                    <a:pt x="255348" y="7604"/>
                    <a:pt x="255348" y="3802"/>
                    <a:pt x="255652" y="0"/>
                  </a:cubicBezTo>
                  <a:lnTo>
                    <a:pt x="0" y="0"/>
                  </a:lnTo>
                  <a:cubicBezTo>
                    <a:pt x="0" y="3878"/>
                    <a:pt x="0" y="7604"/>
                    <a:pt x="0" y="1140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itchFamily="-65" charset="0"/>
              </a:endParaRPr>
            </a:p>
          </p:txBody>
        </p:sp>
        <p:sp>
          <p:nvSpPr>
            <p:cNvPr id="167" name="Freeform: Shape 17">
              <a:extLst>
                <a:ext uri="{FF2B5EF4-FFF2-40B4-BE49-F238E27FC236}">
                  <a16:creationId xmlns:a16="http://schemas.microsoft.com/office/drawing/2014/main" id="{B67C6130-9A1F-C40E-E4E6-56C0636D91FD}"/>
                </a:ext>
              </a:extLst>
            </p:cNvPr>
            <p:cNvSpPr/>
            <p:nvPr/>
          </p:nvSpPr>
          <p:spPr>
            <a:xfrm>
              <a:off x="9559954" y="481454"/>
              <a:ext cx="2224126" cy="2262911"/>
            </a:xfrm>
            <a:custGeom>
              <a:avLst/>
              <a:gdLst>
                <a:gd name="connsiteX0" fmla="*/ 0 w 653957"/>
                <a:gd name="connsiteY0" fmla="*/ 11406 h 665363"/>
                <a:gd name="connsiteX1" fmla="*/ 653958 w 653957"/>
                <a:gd name="connsiteY1" fmla="*/ 668900 h 665363"/>
                <a:gd name="connsiteX2" fmla="*/ 653958 w 653957"/>
                <a:gd name="connsiteY2" fmla="*/ 413400 h 665363"/>
                <a:gd name="connsiteX3" fmla="*/ 255348 w 653957"/>
                <a:gd name="connsiteY3" fmla="*/ 11406 h 665363"/>
                <a:gd name="connsiteX4" fmla="*/ 255652 w 653957"/>
                <a:gd name="connsiteY4" fmla="*/ 0 h 665363"/>
                <a:gd name="connsiteX5" fmla="*/ 0 w 653957"/>
                <a:gd name="connsiteY5" fmla="*/ 0 h 665363"/>
                <a:gd name="connsiteX6" fmla="*/ 0 w 653957"/>
                <a:gd name="connsiteY6" fmla="*/ 11406 h 66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3957" h="665363">
                  <a:moveTo>
                    <a:pt x="0" y="11406"/>
                  </a:moveTo>
                  <a:cubicBezTo>
                    <a:pt x="16" y="373145"/>
                    <a:pt x="292224" y="666934"/>
                    <a:pt x="653958" y="668900"/>
                  </a:cubicBezTo>
                  <a:lnTo>
                    <a:pt x="653958" y="413400"/>
                  </a:lnTo>
                  <a:cubicBezTo>
                    <a:pt x="433283" y="411501"/>
                    <a:pt x="255381" y="232089"/>
                    <a:pt x="255348" y="11406"/>
                  </a:cubicBezTo>
                  <a:cubicBezTo>
                    <a:pt x="255348" y="7604"/>
                    <a:pt x="255348" y="3802"/>
                    <a:pt x="255652" y="0"/>
                  </a:cubicBezTo>
                  <a:lnTo>
                    <a:pt x="0" y="0"/>
                  </a:lnTo>
                  <a:cubicBezTo>
                    <a:pt x="0" y="3878"/>
                    <a:pt x="0" y="7604"/>
                    <a:pt x="0" y="11406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itchFamily="-65" charset="0"/>
              </a:endParaRPr>
            </a:p>
          </p:txBody>
        </p:sp>
        <p:sp>
          <p:nvSpPr>
            <p:cNvPr id="168" name="Freeform: Shape 18">
              <a:extLst>
                <a:ext uri="{FF2B5EF4-FFF2-40B4-BE49-F238E27FC236}">
                  <a16:creationId xmlns:a16="http://schemas.microsoft.com/office/drawing/2014/main" id="{259A3DEE-3CC7-0357-7110-EAB1837FFF4C}"/>
                </a:ext>
              </a:extLst>
            </p:cNvPr>
            <p:cNvSpPr/>
            <p:nvPr/>
          </p:nvSpPr>
          <p:spPr>
            <a:xfrm rot="16200000">
              <a:off x="11803473" y="513204"/>
              <a:ext cx="2224126" cy="2262911"/>
            </a:xfrm>
            <a:custGeom>
              <a:avLst/>
              <a:gdLst>
                <a:gd name="connsiteX0" fmla="*/ 0 w 653957"/>
                <a:gd name="connsiteY0" fmla="*/ 11406 h 665363"/>
                <a:gd name="connsiteX1" fmla="*/ 653958 w 653957"/>
                <a:gd name="connsiteY1" fmla="*/ 668900 h 665363"/>
                <a:gd name="connsiteX2" fmla="*/ 653958 w 653957"/>
                <a:gd name="connsiteY2" fmla="*/ 413400 h 665363"/>
                <a:gd name="connsiteX3" fmla="*/ 255348 w 653957"/>
                <a:gd name="connsiteY3" fmla="*/ 11406 h 665363"/>
                <a:gd name="connsiteX4" fmla="*/ 255652 w 653957"/>
                <a:gd name="connsiteY4" fmla="*/ 0 h 665363"/>
                <a:gd name="connsiteX5" fmla="*/ 0 w 653957"/>
                <a:gd name="connsiteY5" fmla="*/ 0 h 665363"/>
                <a:gd name="connsiteX6" fmla="*/ 0 w 653957"/>
                <a:gd name="connsiteY6" fmla="*/ 11406 h 66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3957" h="665363">
                  <a:moveTo>
                    <a:pt x="0" y="11406"/>
                  </a:moveTo>
                  <a:cubicBezTo>
                    <a:pt x="16" y="373145"/>
                    <a:pt x="292224" y="666934"/>
                    <a:pt x="653958" y="668900"/>
                  </a:cubicBezTo>
                  <a:lnTo>
                    <a:pt x="653958" y="413400"/>
                  </a:lnTo>
                  <a:cubicBezTo>
                    <a:pt x="433283" y="411501"/>
                    <a:pt x="255381" y="232089"/>
                    <a:pt x="255348" y="11406"/>
                  </a:cubicBezTo>
                  <a:cubicBezTo>
                    <a:pt x="255348" y="7604"/>
                    <a:pt x="255348" y="3802"/>
                    <a:pt x="255652" y="0"/>
                  </a:cubicBezTo>
                  <a:lnTo>
                    <a:pt x="0" y="0"/>
                  </a:lnTo>
                  <a:cubicBezTo>
                    <a:pt x="0" y="3878"/>
                    <a:pt x="0" y="7604"/>
                    <a:pt x="0" y="11406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itchFamily="-65" charset="0"/>
              </a:endParaRPr>
            </a:p>
          </p:txBody>
        </p:sp>
        <p:sp>
          <p:nvSpPr>
            <p:cNvPr id="169" name="Freeform: Shape 19">
              <a:extLst>
                <a:ext uri="{FF2B5EF4-FFF2-40B4-BE49-F238E27FC236}">
                  <a16:creationId xmlns:a16="http://schemas.microsoft.com/office/drawing/2014/main" id="{3AB23C28-E005-71F0-32F7-2B86BA2DD085}"/>
                </a:ext>
              </a:extLst>
            </p:cNvPr>
            <p:cNvSpPr/>
            <p:nvPr/>
          </p:nvSpPr>
          <p:spPr>
            <a:xfrm rot="10800000">
              <a:off x="11837154" y="-1730315"/>
              <a:ext cx="2224126" cy="2262911"/>
            </a:xfrm>
            <a:custGeom>
              <a:avLst/>
              <a:gdLst>
                <a:gd name="connsiteX0" fmla="*/ 0 w 653957"/>
                <a:gd name="connsiteY0" fmla="*/ 11406 h 665363"/>
                <a:gd name="connsiteX1" fmla="*/ 653958 w 653957"/>
                <a:gd name="connsiteY1" fmla="*/ 668900 h 665363"/>
                <a:gd name="connsiteX2" fmla="*/ 653958 w 653957"/>
                <a:gd name="connsiteY2" fmla="*/ 413400 h 665363"/>
                <a:gd name="connsiteX3" fmla="*/ 255348 w 653957"/>
                <a:gd name="connsiteY3" fmla="*/ 11406 h 665363"/>
                <a:gd name="connsiteX4" fmla="*/ 255652 w 653957"/>
                <a:gd name="connsiteY4" fmla="*/ 0 h 665363"/>
                <a:gd name="connsiteX5" fmla="*/ 0 w 653957"/>
                <a:gd name="connsiteY5" fmla="*/ 0 h 665363"/>
                <a:gd name="connsiteX6" fmla="*/ 0 w 653957"/>
                <a:gd name="connsiteY6" fmla="*/ 11406 h 66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3957" h="665363">
                  <a:moveTo>
                    <a:pt x="0" y="11406"/>
                  </a:moveTo>
                  <a:cubicBezTo>
                    <a:pt x="16" y="373145"/>
                    <a:pt x="292224" y="666934"/>
                    <a:pt x="653958" y="668900"/>
                  </a:cubicBezTo>
                  <a:lnTo>
                    <a:pt x="653958" y="413400"/>
                  </a:lnTo>
                  <a:cubicBezTo>
                    <a:pt x="433283" y="411501"/>
                    <a:pt x="255381" y="232089"/>
                    <a:pt x="255348" y="11406"/>
                  </a:cubicBezTo>
                  <a:cubicBezTo>
                    <a:pt x="255348" y="7604"/>
                    <a:pt x="255348" y="3802"/>
                    <a:pt x="255652" y="0"/>
                  </a:cubicBezTo>
                  <a:lnTo>
                    <a:pt x="0" y="0"/>
                  </a:lnTo>
                  <a:cubicBezTo>
                    <a:pt x="0" y="3878"/>
                    <a:pt x="0" y="7604"/>
                    <a:pt x="0" y="11406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itchFamily="-65" charset="0"/>
              </a:endParaRPr>
            </a:p>
          </p:txBody>
        </p:sp>
        <p:sp>
          <p:nvSpPr>
            <p:cNvPr id="170" name="Freeform: Shape 20">
              <a:extLst>
                <a:ext uri="{FF2B5EF4-FFF2-40B4-BE49-F238E27FC236}">
                  <a16:creationId xmlns:a16="http://schemas.microsoft.com/office/drawing/2014/main" id="{A7542560-87B2-2C3A-F271-05E66CE28263}"/>
                </a:ext>
              </a:extLst>
            </p:cNvPr>
            <p:cNvSpPr/>
            <p:nvPr/>
          </p:nvSpPr>
          <p:spPr>
            <a:xfrm rot="5400000">
              <a:off x="9593635" y="-1762065"/>
              <a:ext cx="2224126" cy="2262911"/>
            </a:xfrm>
            <a:custGeom>
              <a:avLst/>
              <a:gdLst>
                <a:gd name="connsiteX0" fmla="*/ 0 w 653957"/>
                <a:gd name="connsiteY0" fmla="*/ 11406 h 665363"/>
                <a:gd name="connsiteX1" fmla="*/ 653958 w 653957"/>
                <a:gd name="connsiteY1" fmla="*/ 668900 h 665363"/>
                <a:gd name="connsiteX2" fmla="*/ 653958 w 653957"/>
                <a:gd name="connsiteY2" fmla="*/ 413400 h 665363"/>
                <a:gd name="connsiteX3" fmla="*/ 255348 w 653957"/>
                <a:gd name="connsiteY3" fmla="*/ 11406 h 665363"/>
                <a:gd name="connsiteX4" fmla="*/ 255652 w 653957"/>
                <a:gd name="connsiteY4" fmla="*/ 0 h 665363"/>
                <a:gd name="connsiteX5" fmla="*/ 0 w 653957"/>
                <a:gd name="connsiteY5" fmla="*/ 0 h 665363"/>
                <a:gd name="connsiteX6" fmla="*/ 0 w 653957"/>
                <a:gd name="connsiteY6" fmla="*/ 11406 h 66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3957" h="665363">
                  <a:moveTo>
                    <a:pt x="0" y="11406"/>
                  </a:moveTo>
                  <a:cubicBezTo>
                    <a:pt x="16" y="373145"/>
                    <a:pt x="292224" y="666934"/>
                    <a:pt x="653958" y="668900"/>
                  </a:cubicBezTo>
                  <a:lnTo>
                    <a:pt x="653958" y="413400"/>
                  </a:lnTo>
                  <a:cubicBezTo>
                    <a:pt x="433283" y="411501"/>
                    <a:pt x="255381" y="232089"/>
                    <a:pt x="255348" y="11406"/>
                  </a:cubicBezTo>
                  <a:cubicBezTo>
                    <a:pt x="255348" y="7604"/>
                    <a:pt x="255348" y="3802"/>
                    <a:pt x="255652" y="0"/>
                  </a:cubicBezTo>
                  <a:lnTo>
                    <a:pt x="0" y="0"/>
                  </a:lnTo>
                  <a:cubicBezTo>
                    <a:pt x="0" y="3878"/>
                    <a:pt x="0" y="7604"/>
                    <a:pt x="0" y="11406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5111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itchFamily="-65" charset="0"/>
              </a:endParaRPr>
            </a:p>
          </p:txBody>
        </p:sp>
      </p:grpSp>
      <p:sp>
        <p:nvSpPr>
          <p:cNvPr id="17" name="Title 25">
            <a:extLst>
              <a:ext uri="{FF2B5EF4-FFF2-40B4-BE49-F238E27FC236}">
                <a16:creationId xmlns:a16="http://schemas.microsoft.com/office/drawing/2014/main" id="{8E1235B8-C37D-C46F-4A69-127F7C6115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351" y="3127375"/>
            <a:ext cx="3506653" cy="369332"/>
          </a:xfrm>
        </p:spPr>
        <p:txBody>
          <a:bodyPr/>
          <a:lstStyle/>
          <a:p>
            <a:r>
              <a:rPr lang="en-US" sz="2400" b="0">
                <a:latin typeface="J&amp;J Circular Book" panose="020B0604020101020102" pitchFamily="34" charset="77"/>
                <a:cs typeface="J&amp;J Circular Book" panose="020B0604020101020102" pitchFamily="34" charset="77"/>
              </a:rPr>
              <a:t>Our phased approach to</a:t>
            </a:r>
            <a:endParaRPr lang="en-US" sz="2400" b="0">
              <a:latin typeface="J&amp;J Circular Bold" panose="020B0604020101020102" pitchFamily="34" charset="77"/>
              <a:cs typeface="J&amp;J Circular Bold" panose="020B0604020101020102" pitchFamily="34" charset="77"/>
            </a:endParaRPr>
          </a:p>
        </p:txBody>
      </p:sp>
      <p:sp>
        <p:nvSpPr>
          <p:cNvPr id="2" name="Arrow: U-Turn 3">
            <a:extLst>
              <a:ext uri="{FF2B5EF4-FFF2-40B4-BE49-F238E27FC236}">
                <a16:creationId xmlns:a16="http://schemas.microsoft.com/office/drawing/2014/main" id="{1C3CED60-8987-764A-C117-95A8A2B12284}"/>
              </a:ext>
            </a:extLst>
          </p:cNvPr>
          <p:cNvSpPr/>
          <p:nvPr/>
        </p:nvSpPr>
        <p:spPr>
          <a:xfrm flipV="1">
            <a:off x="8898253" y="2973293"/>
            <a:ext cx="2058288" cy="3388992"/>
          </a:xfrm>
          <a:prstGeom prst="uturnArrow">
            <a:avLst/>
          </a:prstGeom>
          <a:gradFill>
            <a:gsLst>
              <a:gs pos="1500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  <a:effectLst>
            <a:outerShdw blurRad="800100" dist="546100" dir="2700000" sx="90000" sy="9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" name="Arrow: U-Turn 4">
            <a:extLst>
              <a:ext uri="{FF2B5EF4-FFF2-40B4-BE49-F238E27FC236}">
                <a16:creationId xmlns:a16="http://schemas.microsoft.com/office/drawing/2014/main" id="{9F74E342-3AF8-DD95-27E5-D31D2CBFBC2F}"/>
              </a:ext>
            </a:extLst>
          </p:cNvPr>
          <p:cNvSpPr/>
          <p:nvPr/>
        </p:nvSpPr>
        <p:spPr>
          <a:xfrm>
            <a:off x="7603031" y="1954759"/>
            <a:ext cx="2058288" cy="2037068"/>
          </a:xfrm>
          <a:prstGeom prst="uturnArrow">
            <a:avLst/>
          </a:prstGeom>
          <a:gradFill>
            <a:gsLst>
              <a:gs pos="15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  <a:effectLst>
            <a:outerShdw blurRad="800100" dist="546100" dir="2700000" sx="90000" sy="9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Arrow: U-Turn 5">
            <a:extLst>
              <a:ext uri="{FF2B5EF4-FFF2-40B4-BE49-F238E27FC236}">
                <a16:creationId xmlns:a16="http://schemas.microsoft.com/office/drawing/2014/main" id="{8076EA92-62CD-C88E-5EA3-642DCE1F1479}"/>
              </a:ext>
            </a:extLst>
          </p:cNvPr>
          <p:cNvSpPr/>
          <p:nvPr/>
        </p:nvSpPr>
        <p:spPr>
          <a:xfrm flipV="1">
            <a:off x="6307808" y="2973293"/>
            <a:ext cx="2058288" cy="2037068"/>
          </a:xfrm>
          <a:prstGeom prst="uturnArrow">
            <a:avLst/>
          </a:prstGeom>
          <a:gradFill>
            <a:gsLst>
              <a:gs pos="1500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  <a:effectLst>
            <a:outerShdw blurRad="800100" dist="546100" dir="2700000" sx="90000" sy="9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" name="Arrow: U-Turn 6">
            <a:extLst>
              <a:ext uri="{FF2B5EF4-FFF2-40B4-BE49-F238E27FC236}">
                <a16:creationId xmlns:a16="http://schemas.microsoft.com/office/drawing/2014/main" id="{5827697E-FC0E-4F4F-D724-C078DF5582F3}"/>
              </a:ext>
            </a:extLst>
          </p:cNvPr>
          <p:cNvSpPr/>
          <p:nvPr/>
        </p:nvSpPr>
        <p:spPr>
          <a:xfrm>
            <a:off x="5012586" y="1954759"/>
            <a:ext cx="2058288" cy="4956801"/>
          </a:xfrm>
          <a:prstGeom prst="uturnArrow">
            <a:avLst>
              <a:gd name="adj1" fmla="val 25000"/>
              <a:gd name="adj2" fmla="val 25000"/>
              <a:gd name="adj3" fmla="val 25000"/>
              <a:gd name="adj4" fmla="val 43750"/>
              <a:gd name="adj5" fmla="val 30803"/>
            </a:avLst>
          </a:prstGeom>
          <a:gradFill>
            <a:gsLst>
              <a:gs pos="1500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  <a:effectLst>
            <a:outerShdw blurRad="800100" dist="546100" dir="2700000" sx="90000" sy="9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111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94" name="Picture 93">
            <a:extLst>
              <a:ext uri="{FF2B5EF4-FFF2-40B4-BE49-F238E27FC236}">
                <a16:creationId xmlns:a16="http://schemas.microsoft.com/office/drawing/2014/main" id="{CB16E287-091B-CA67-3411-D45D4B99A6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653" y="3719439"/>
            <a:ext cx="3896552" cy="437656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666B24C7-102A-CE58-77DB-7C8954D5F57A}"/>
              </a:ext>
            </a:extLst>
          </p:cNvPr>
          <p:cNvGrpSpPr/>
          <p:nvPr/>
        </p:nvGrpSpPr>
        <p:grpSpPr>
          <a:xfrm>
            <a:off x="4964746" y="240760"/>
            <a:ext cx="1835826" cy="2001762"/>
            <a:chOff x="4964746" y="240760"/>
            <a:chExt cx="1835826" cy="2001762"/>
          </a:xfrm>
        </p:grpSpPr>
        <p:sp>
          <p:nvSpPr>
            <p:cNvPr id="7" name="Text Placeholder 11">
              <a:extLst>
                <a:ext uri="{FF2B5EF4-FFF2-40B4-BE49-F238E27FC236}">
                  <a16:creationId xmlns:a16="http://schemas.microsoft.com/office/drawing/2014/main" id="{56FA305F-1F82-24AB-092C-508C7B18A219}"/>
                </a:ext>
              </a:extLst>
            </p:cNvPr>
            <p:cNvSpPr txBox="1">
              <a:spLocks/>
            </p:cNvSpPr>
            <p:nvPr/>
          </p:nvSpPr>
          <p:spPr>
            <a:xfrm>
              <a:off x="4964746" y="710794"/>
              <a:ext cx="1835826" cy="1531728"/>
            </a:xfrm>
            <a:prstGeom prst="rect">
              <a:avLst/>
            </a:prstGeom>
          </p:spPr>
          <p:txBody>
            <a:bodyPr/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2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200" indent="-22860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52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8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64" indent="-191135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223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259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95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331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C8102E"/>
                  </a:solidFill>
                  <a:effectLst/>
                  <a:uLnTx/>
                  <a:uFillTx/>
                  <a:latin typeface="J&amp;J Circular Bold" panose="020B0604020101020102" pitchFamily="34" charset="77"/>
                  <a:cs typeface="J&amp;J Circular Bold" panose="020B0604020101020102" pitchFamily="34" charset="77"/>
                  <a:sym typeface="Arial" pitchFamily="-65" charset="0"/>
                </a:rPr>
                <a:t>Team Transformation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J&amp;J Circular Book" panose="020B0604020101020102" pitchFamily="34" charset="77"/>
                  <a:cs typeface="J&amp;J Circular Book" panose="020B0604020101020102" pitchFamily="34" charset="77"/>
                  <a:sym typeface="Arial" pitchFamily="-65" charset="0"/>
                </a:rPr>
                <a:t>Centralize and rebrand as GCS</a:t>
              </a:r>
            </a:p>
          </p:txBody>
        </p:sp>
        <p:pic>
          <p:nvPicPr>
            <p:cNvPr id="9" name="Picture 8" descr="Icon&#10;&#10;Description automatically generated">
              <a:extLst>
                <a:ext uri="{FF2B5EF4-FFF2-40B4-BE49-F238E27FC236}">
                  <a16:creationId xmlns:a16="http://schemas.microsoft.com/office/drawing/2014/main" id="{762A675C-1929-665B-A770-1334BC6835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35446" y="240760"/>
              <a:ext cx="519534" cy="420327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014808-5604-09D7-65DE-B79A567C0B80}"/>
              </a:ext>
            </a:extLst>
          </p:cNvPr>
          <p:cNvGrpSpPr/>
          <p:nvPr/>
        </p:nvGrpSpPr>
        <p:grpSpPr>
          <a:xfrm>
            <a:off x="7579475" y="281220"/>
            <a:ext cx="2259470" cy="1448109"/>
            <a:chOff x="7579475" y="281220"/>
            <a:chExt cx="2259470" cy="1448109"/>
          </a:xfrm>
        </p:grpSpPr>
        <p:sp>
          <p:nvSpPr>
            <p:cNvPr id="11" name="Text Placeholder 15">
              <a:extLst>
                <a:ext uri="{FF2B5EF4-FFF2-40B4-BE49-F238E27FC236}">
                  <a16:creationId xmlns:a16="http://schemas.microsoft.com/office/drawing/2014/main" id="{D2FEA6BB-159C-942E-CF8B-2B74E5F30DA8}"/>
                </a:ext>
              </a:extLst>
            </p:cNvPr>
            <p:cNvSpPr txBox="1">
              <a:spLocks/>
            </p:cNvSpPr>
            <p:nvPr/>
          </p:nvSpPr>
          <p:spPr>
            <a:xfrm>
              <a:off x="7579475" y="755884"/>
              <a:ext cx="2259470" cy="973445"/>
            </a:xfrm>
            <a:prstGeom prst="rect">
              <a:avLst/>
            </a:prstGeom>
          </p:spPr>
          <p:txBody>
            <a:bodyPr/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2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200" indent="-22860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52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8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64" indent="-191135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223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259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95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331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C800A1"/>
                  </a:solidFill>
                  <a:effectLst/>
                  <a:uLnTx/>
                  <a:uFillTx/>
                  <a:latin typeface="J&amp;J Circular Bold" panose="020B0604020101020102" pitchFamily="34" charset="77"/>
                  <a:cs typeface="J&amp;J Circular Bold" panose="020B0604020101020102" pitchFamily="34" charset="77"/>
                  <a:sym typeface="Arial" pitchFamily="-65" charset="0"/>
                </a:rPr>
                <a:t>Content Transformation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J&amp;J Circular Book" panose="020B0604020101020102" pitchFamily="34" charset="77"/>
                  <a:cs typeface="J&amp;J Circular Book" panose="020B0604020101020102" pitchFamily="34" charset="77"/>
                  <a:sym typeface="Arial" pitchFamily="-65" charset="0"/>
                </a:rPr>
                <a:t>Implement new standards and templates</a:t>
              </a:r>
            </a:p>
          </p:txBody>
        </p:sp>
        <p:pic>
          <p:nvPicPr>
            <p:cNvPr id="13" name="Picture 12" descr="A picture containing text, sign&#10;&#10;Description automatically generated">
              <a:extLst>
                <a:ext uri="{FF2B5EF4-FFF2-40B4-BE49-F238E27FC236}">
                  <a16:creationId xmlns:a16="http://schemas.microsoft.com/office/drawing/2014/main" id="{E73A957B-C294-2D52-E04A-6145F5AFC7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697318" y="281220"/>
              <a:ext cx="429574" cy="429574"/>
            </a:xfrm>
            <a:prstGeom prst="rect">
              <a:avLst/>
            </a:prstGeom>
            <a:solidFill>
              <a:schemeClr val="bg1"/>
            </a:solidFill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5EC4268-0086-3FA9-90F7-B439E5786507}"/>
              </a:ext>
            </a:extLst>
          </p:cNvPr>
          <p:cNvGrpSpPr/>
          <p:nvPr/>
        </p:nvGrpSpPr>
        <p:grpSpPr>
          <a:xfrm>
            <a:off x="6234078" y="5010361"/>
            <a:ext cx="2132018" cy="1549843"/>
            <a:chOff x="6234078" y="5010361"/>
            <a:chExt cx="2132018" cy="1549843"/>
          </a:xfrm>
        </p:grpSpPr>
        <p:sp>
          <p:nvSpPr>
            <p:cNvPr id="8" name="Text Placeholder 13">
              <a:extLst>
                <a:ext uri="{FF2B5EF4-FFF2-40B4-BE49-F238E27FC236}">
                  <a16:creationId xmlns:a16="http://schemas.microsoft.com/office/drawing/2014/main" id="{0BCFA176-1C2E-23A5-6E86-DEF81281914D}"/>
                </a:ext>
              </a:extLst>
            </p:cNvPr>
            <p:cNvSpPr txBox="1">
              <a:spLocks/>
            </p:cNvSpPr>
            <p:nvPr/>
          </p:nvSpPr>
          <p:spPr>
            <a:xfrm>
              <a:off x="6234078" y="5466133"/>
              <a:ext cx="2132018" cy="1094071"/>
            </a:xfrm>
            <a:prstGeom prst="rect">
              <a:avLst/>
            </a:prstGeom>
          </p:spPr>
          <p:txBody>
            <a:bodyPr/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2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200" indent="-22860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52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80" indent="-201168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64" indent="-191135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223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259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95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331" indent="-192024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1E22AA"/>
                  </a:solidFill>
                  <a:effectLst/>
                  <a:uLnTx/>
                  <a:uFillTx/>
                  <a:latin typeface="J&amp;J Circular Bold" panose="020B0604020101020102" pitchFamily="34" charset="77"/>
                  <a:cs typeface="J&amp;J Circular Bold" panose="020B0604020101020102" pitchFamily="34" charset="77"/>
                  <a:sym typeface="Arial" pitchFamily="-65" charset="0"/>
                </a:rPr>
                <a:t>Content Strategy Modernization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J&amp;J Circular Book" panose="020B0604020101020102" pitchFamily="34" charset="77"/>
                  <a:cs typeface="J&amp;J Circular Book" panose="020B0604020101020102" pitchFamily="34" charset="77"/>
                  <a:sym typeface="Arial" pitchFamily="-65" charset="0"/>
                </a:rPr>
                <a:t>Assess current state, build standards and templates</a:t>
              </a:r>
            </a:p>
          </p:txBody>
        </p:sp>
        <p:pic>
          <p:nvPicPr>
            <p:cNvPr id="15" name="Picture 14" descr="Icon&#10;&#10;Description automatically generated">
              <a:extLst>
                <a:ext uri="{FF2B5EF4-FFF2-40B4-BE49-F238E27FC236}">
                  <a16:creationId xmlns:a16="http://schemas.microsoft.com/office/drawing/2014/main" id="{4F96FA1F-3891-A94A-973E-06B87D0A4B1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307808" y="5010361"/>
              <a:ext cx="399440" cy="399440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48753A2-0FB2-452C-F3DC-0EFC90F0888C}"/>
              </a:ext>
            </a:extLst>
          </p:cNvPr>
          <p:cNvGrpSpPr/>
          <p:nvPr/>
        </p:nvGrpSpPr>
        <p:grpSpPr>
          <a:xfrm>
            <a:off x="9985683" y="2335035"/>
            <a:ext cx="1655003" cy="1493755"/>
            <a:chOff x="9985683" y="2335035"/>
            <a:chExt cx="1655003" cy="1493755"/>
          </a:xfrm>
        </p:grpSpPr>
        <p:sp>
          <p:nvSpPr>
            <p:cNvPr id="12" name="Text Placeholder 15">
              <a:extLst>
                <a:ext uri="{FF2B5EF4-FFF2-40B4-BE49-F238E27FC236}">
                  <a16:creationId xmlns:a16="http://schemas.microsoft.com/office/drawing/2014/main" id="{7EDF4DA1-4FD2-646F-5829-D3CCC242913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985683" y="2855346"/>
              <a:ext cx="1655003" cy="97344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18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defRPr sz="2133">
                  <a:solidFill>
                    <a:schemeClr val="accent4"/>
                  </a:solidFill>
                  <a:latin typeface="+mj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1pPr>
              <a:lvl2pPr marL="457182" indent="-228591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2pPr>
              <a:lvl3pPr marL="731491" indent="-20116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•"/>
                <a:defRPr sz="18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3pPr>
              <a:lvl4pPr marL="1097236" indent="-201160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–"/>
                <a:defRPr sz="15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4pPr>
              <a:lvl5pPr marL="1487905" indent="-191127" algn="l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Char char="»"/>
                <a:defRPr sz="1300">
                  <a:solidFill>
                    <a:schemeClr val="tx2"/>
                  </a:solidFill>
                  <a:latin typeface="+mn-lt"/>
                  <a:ea typeface="Arial Unicode MS" pitchFamily="-65" charset="0"/>
                  <a:cs typeface="Arial Unicode MS" pitchFamily="-65" charset="0"/>
                  <a:sym typeface="Arial" pitchFamily="-65" charset="0"/>
                </a:defRPr>
              </a:lvl5pPr>
              <a:lvl6pPr marL="1776152" indent="-192016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6pPr>
              <a:lvl7pPr marL="2064177" indent="-192016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7pPr>
              <a:lvl8pPr marL="2352201" indent="-192016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8pPr>
              <a:lvl9pPr marL="2640225" indent="-192016" algn="l" rtl="0" eaLnBrk="1" fontAlgn="base" hangingPunct="1">
                <a:spcBef>
                  <a:spcPts val="379"/>
                </a:spcBef>
                <a:spcAft>
                  <a:spcPct val="0"/>
                </a:spcAft>
                <a:buSzPct val="100000"/>
                <a:buFont typeface="Arial" pitchFamily="-110" charset="0"/>
                <a:buChar char="»"/>
                <a:defRPr sz="17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Arial" pitchFamily="-110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008578"/>
                  </a:solidFill>
                  <a:effectLst/>
                  <a:uLnTx/>
                  <a:uFillTx/>
                  <a:latin typeface="J&amp;J Circular Bold" panose="020B0604020101020102" pitchFamily="34" charset="77"/>
                  <a:cs typeface="J&amp;J Circular Bold" panose="020B0604020101020102" pitchFamily="34" charset="77"/>
                  <a:sym typeface="Arial" pitchFamily="-65" charset="0"/>
                </a:rPr>
                <a:t>Conversational Content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63666A"/>
                </a:buClr>
                <a:buSzPct val="100000"/>
                <a:buFont typeface="Arial" pitchFamily="-65" charset="0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J&amp;J Circular Medium" panose="020B0604020101020102" pitchFamily="34" charset="77"/>
                  <a:cs typeface="J&amp;J Circular Medium" panose="020B0604020101020102" pitchFamily="34" charset="77"/>
                  <a:sym typeface="Arial" pitchFamily="-65" charset="0"/>
                </a:rPr>
                <a:t>Getting the words right</a:t>
              </a:r>
            </a:p>
          </p:txBody>
        </p:sp>
        <p:pic>
          <p:nvPicPr>
            <p:cNvPr id="18" name="Picture 17" descr="Icon&#10;&#10;Description automatically generated">
              <a:extLst>
                <a:ext uri="{FF2B5EF4-FFF2-40B4-BE49-F238E27FC236}">
                  <a16:creationId xmlns:a16="http://schemas.microsoft.com/office/drawing/2014/main" id="{A7AB08AC-393F-3FC7-C908-7CD62BC8438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997113" y="2335035"/>
              <a:ext cx="472767" cy="472767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24253841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PROJECT_OPEN" val="0"/>
  <p:tag name="ARTICULATE_SLIDE_COUNT" val="6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cYlwBYjEXbwkeJ.hTPw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itle, bullets">
  <a:themeElements>
    <a:clrScheme name="Johnson&amp;Johnson">
      <a:dk1>
        <a:srgbClr val="212121"/>
      </a:dk1>
      <a:lt1>
        <a:srgbClr val="FFFFFF"/>
      </a:lt1>
      <a:dk2>
        <a:srgbClr val="63666A"/>
      </a:dk2>
      <a:lt2>
        <a:srgbClr val="F4F4F4"/>
      </a:lt2>
      <a:accent1>
        <a:srgbClr val="C8102E"/>
      </a:accent1>
      <a:accent2>
        <a:srgbClr val="1E22AA"/>
      </a:accent2>
      <a:accent3>
        <a:srgbClr val="C800A1"/>
      </a:accent3>
      <a:accent4>
        <a:srgbClr val="00A3AD"/>
      </a:accent4>
      <a:accent5>
        <a:srgbClr val="FF8200"/>
      </a:accent5>
      <a:accent6>
        <a:srgbClr val="753BBD"/>
      </a:accent6>
      <a:hlink>
        <a:srgbClr val="1E22AA"/>
      </a:hlink>
      <a:folHlink>
        <a:srgbClr val="888B8D"/>
      </a:folHlink>
    </a:clrScheme>
    <a:fontScheme name="Title &amp; Bullets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spDef>
    <a:lnDef>
      <a:spPr bwMode="auto">
        <a:solidFill>
          <a:srgbClr val="C0C0C0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JJ Powerpoint Full Screen Version Editable Template_jnjcorporateppttemplatefullscreen190404_updated colors1.potx" id="{49A1F123-1D79-4996-AC46-4A97ED96C357}" vid="{85603846-5EE6-4AB5-9660-DD8D8C006C47}"/>
    </a:ext>
  </a:extLst>
</a:theme>
</file>

<file path=ppt/theme/theme2.xml><?xml version="1.0" encoding="utf-8"?>
<a:theme xmlns:a="http://schemas.openxmlformats.org/drawingml/2006/main" name="1_title, bullets">
  <a:themeElements>
    <a:clrScheme name="Johnson&amp;Johnson">
      <a:dk1>
        <a:srgbClr val="212121"/>
      </a:dk1>
      <a:lt1>
        <a:srgbClr val="FFFFFF"/>
      </a:lt1>
      <a:dk2>
        <a:srgbClr val="63666A"/>
      </a:dk2>
      <a:lt2>
        <a:srgbClr val="F4F4F4"/>
      </a:lt2>
      <a:accent1>
        <a:srgbClr val="C8102E"/>
      </a:accent1>
      <a:accent2>
        <a:srgbClr val="1E22AA"/>
      </a:accent2>
      <a:accent3>
        <a:srgbClr val="C800A1"/>
      </a:accent3>
      <a:accent4>
        <a:srgbClr val="00A3AD"/>
      </a:accent4>
      <a:accent5>
        <a:srgbClr val="FF8200"/>
      </a:accent5>
      <a:accent6>
        <a:srgbClr val="753BBD"/>
      </a:accent6>
      <a:hlink>
        <a:srgbClr val="1E22AA"/>
      </a:hlink>
      <a:folHlink>
        <a:srgbClr val="888B8D"/>
      </a:folHlink>
    </a:clrScheme>
    <a:fontScheme name="Title &amp; Bullets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spDef>
    <a:lnDef>
      <a:spPr bwMode="auto">
        <a:solidFill>
          <a:srgbClr val="C0C0C0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JJ Powerpoint Full Screen Version Editable Template_jnjcorporateppttemplatefullscreen190404_updated colors1.potx" id="{49A1F123-1D79-4996-AC46-4A97ED96C357}" vid="{85603846-5EE6-4AB5-9660-DD8D8C006C47}"/>
    </a:ext>
  </a:extLst>
</a:theme>
</file>

<file path=ppt/theme/theme3.xml><?xml version="1.0" encoding="utf-8"?>
<a:theme xmlns:a="http://schemas.openxmlformats.org/drawingml/2006/main" name="2_title, bullets">
  <a:themeElements>
    <a:clrScheme name="Johnson&amp;Johnson">
      <a:dk1>
        <a:srgbClr val="212121"/>
      </a:dk1>
      <a:lt1>
        <a:srgbClr val="FFFFFF"/>
      </a:lt1>
      <a:dk2>
        <a:srgbClr val="63666A"/>
      </a:dk2>
      <a:lt2>
        <a:srgbClr val="F4F4F4"/>
      </a:lt2>
      <a:accent1>
        <a:srgbClr val="C8102E"/>
      </a:accent1>
      <a:accent2>
        <a:srgbClr val="1E22AA"/>
      </a:accent2>
      <a:accent3>
        <a:srgbClr val="C800A1"/>
      </a:accent3>
      <a:accent4>
        <a:srgbClr val="00A3AD"/>
      </a:accent4>
      <a:accent5>
        <a:srgbClr val="FF8200"/>
      </a:accent5>
      <a:accent6>
        <a:srgbClr val="753BBD"/>
      </a:accent6>
      <a:hlink>
        <a:srgbClr val="1E22AA"/>
      </a:hlink>
      <a:folHlink>
        <a:srgbClr val="888B8D"/>
      </a:folHlink>
    </a:clrScheme>
    <a:fontScheme name="Title &amp; Bullets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spDef>
    <a:lnDef>
      <a:spPr bwMode="auto">
        <a:solidFill>
          <a:srgbClr val="C0C0C0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JJ Powerpoint Full Screen Version Editable Template_jnjcorporateppttemplatefullscreen190404_updated colors1.potx" id="{49A1F123-1D79-4996-AC46-4A97ED96C357}" vid="{85603846-5EE6-4AB5-9660-DD8D8C006C47}"/>
    </a:ext>
  </a:extLst>
</a:theme>
</file>

<file path=ppt/theme/theme4.xml><?xml version="1.0" encoding="utf-8"?>
<a:theme xmlns:a="http://schemas.openxmlformats.org/drawingml/2006/main" name="5_title, bullets">
  <a:themeElements>
    <a:clrScheme name="Johnson&amp;Johnson">
      <a:dk1>
        <a:srgbClr val="212121"/>
      </a:dk1>
      <a:lt1>
        <a:srgbClr val="FFFFFF"/>
      </a:lt1>
      <a:dk2>
        <a:srgbClr val="63666A"/>
      </a:dk2>
      <a:lt2>
        <a:srgbClr val="F4F4F4"/>
      </a:lt2>
      <a:accent1>
        <a:srgbClr val="C8102E"/>
      </a:accent1>
      <a:accent2>
        <a:srgbClr val="1E22AA"/>
      </a:accent2>
      <a:accent3>
        <a:srgbClr val="C800A1"/>
      </a:accent3>
      <a:accent4>
        <a:srgbClr val="00A3AD"/>
      </a:accent4>
      <a:accent5>
        <a:srgbClr val="FF8200"/>
      </a:accent5>
      <a:accent6>
        <a:srgbClr val="753BBD"/>
      </a:accent6>
      <a:hlink>
        <a:srgbClr val="1E22AA"/>
      </a:hlink>
      <a:folHlink>
        <a:srgbClr val="888B8D"/>
      </a:folHlink>
    </a:clrScheme>
    <a:fontScheme name="Title &amp; Bullets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spDef>
    <a:lnDef>
      <a:spPr bwMode="auto">
        <a:solidFill>
          <a:srgbClr val="C0C0C0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JJ Powerpoint Full Screen Version Editable Template_jnjcorporateppttemplatefullscreen190404_updated colors1.potx" id="{49A1F123-1D79-4996-AC46-4A97ED96C357}" vid="{85603846-5EE6-4AB5-9660-DD8D8C006C47}"/>
    </a:ext>
  </a:extLst>
</a:theme>
</file>

<file path=ppt/theme/theme5.xml><?xml version="1.0" encoding="utf-8"?>
<a:theme xmlns:a="http://schemas.openxmlformats.org/drawingml/2006/main" name="3_title, bullets">
  <a:themeElements>
    <a:clrScheme name="Johnson&amp;Johnson">
      <a:dk1>
        <a:srgbClr val="212121"/>
      </a:dk1>
      <a:lt1>
        <a:srgbClr val="FFFFFF"/>
      </a:lt1>
      <a:dk2>
        <a:srgbClr val="63666A"/>
      </a:dk2>
      <a:lt2>
        <a:srgbClr val="F4F4F4"/>
      </a:lt2>
      <a:accent1>
        <a:srgbClr val="C8102E"/>
      </a:accent1>
      <a:accent2>
        <a:srgbClr val="1E22AA"/>
      </a:accent2>
      <a:accent3>
        <a:srgbClr val="C800A1"/>
      </a:accent3>
      <a:accent4>
        <a:srgbClr val="00A3AD"/>
      </a:accent4>
      <a:accent5>
        <a:srgbClr val="FF8200"/>
      </a:accent5>
      <a:accent6>
        <a:srgbClr val="753BBD"/>
      </a:accent6>
      <a:hlink>
        <a:srgbClr val="1E22AA"/>
      </a:hlink>
      <a:folHlink>
        <a:srgbClr val="888B8D"/>
      </a:folHlink>
    </a:clrScheme>
    <a:fontScheme name="Title &amp; Bullets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spDef>
    <a:lnDef>
      <a:spPr bwMode="auto">
        <a:solidFill>
          <a:srgbClr val="C0C0C0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JJ Powerpoint Full Screen Version Editable Template_jnjcorporateppttemplatefullscreen190404_updated colors1.potx" id="{49A1F123-1D79-4996-AC46-4A97ED96C357}" vid="{85603846-5EE6-4AB5-9660-DD8D8C006C47}"/>
    </a:ext>
  </a:extLst>
</a:theme>
</file>

<file path=ppt/theme/theme6.xml><?xml version="1.0" encoding="utf-8"?>
<a:theme xmlns:a="http://schemas.openxmlformats.org/drawingml/2006/main" name="4_title, bullets">
  <a:themeElements>
    <a:clrScheme name="Johnson&amp;Johnson">
      <a:dk1>
        <a:srgbClr val="212121"/>
      </a:dk1>
      <a:lt1>
        <a:srgbClr val="FFFFFF"/>
      </a:lt1>
      <a:dk2>
        <a:srgbClr val="63666A"/>
      </a:dk2>
      <a:lt2>
        <a:srgbClr val="F4F4F4"/>
      </a:lt2>
      <a:accent1>
        <a:srgbClr val="C8102E"/>
      </a:accent1>
      <a:accent2>
        <a:srgbClr val="1E22AA"/>
      </a:accent2>
      <a:accent3>
        <a:srgbClr val="C800A1"/>
      </a:accent3>
      <a:accent4>
        <a:srgbClr val="00A3AD"/>
      </a:accent4>
      <a:accent5>
        <a:srgbClr val="FF8200"/>
      </a:accent5>
      <a:accent6>
        <a:srgbClr val="753BBD"/>
      </a:accent6>
      <a:hlink>
        <a:srgbClr val="1E22AA"/>
      </a:hlink>
      <a:folHlink>
        <a:srgbClr val="888B8D"/>
      </a:folHlink>
    </a:clrScheme>
    <a:fontScheme name="Title &amp; Bullets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32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-110" charset="0"/>
            <a:ea typeface="ヒラギノ角ゴ ProN W3" pitchFamily="-110" charset="-128"/>
            <a:cs typeface="ヒラギノ角ゴ ProN W3" pitchFamily="-110" charset="-128"/>
            <a:sym typeface="Arial" pitchFamily="-110" charset="0"/>
          </a:defRPr>
        </a:defPPr>
      </a:lstStyle>
    </a:spDef>
    <a:lnDef>
      <a:spPr bwMode="auto">
        <a:solidFill>
          <a:srgbClr val="C0C0C0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JJ Powerpoint Full Screen Version Editable Template_jnjcorporateppttemplatefullscreen190404_updated colors1.potx" id="{49A1F123-1D79-4996-AC46-4A97ED96C357}" vid="{85603846-5EE6-4AB5-9660-DD8D8C006C47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F584F00EC39445806E563F106705CA" ma:contentTypeVersion="13" ma:contentTypeDescription="Create a new document." ma:contentTypeScope="" ma:versionID="39a164d2f2b1c6e13d84ff301bafb559">
  <xsd:schema xmlns:xsd="http://www.w3.org/2001/XMLSchema" xmlns:xs="http://www.w3.org/2001/XMLSchema" xmlns:p="http://schemas.microsoft.com/office/2006/metadata/properties" xmlns:ns3="8ee0ef19-b8db-46df-9153-0b7ca71040e0" xmlns:ns4="30698970-fb0d-4ba3-8c83-73a7b096c436" targetNamespace="http://schemas.microsoft.com/office/2006/metadata/properties" ma:root="true" ma:fieldsID="8f41c86563b5adaf7445bacd2ceef2e9" ns3:_="" ns4:_="">
    <xsd:import namespace="8ee0ef19-b8db-46df-9153-0b7ca71040e0"/>
    <xsd:import namespace="30698970-fb0d-4ba3-8c83-73a7b096c43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e0ef19-b8db-46df-9153-0b7ca71040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698970-fb0d-4ba3-8c83-73a7b096c43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1A517B6-67E0-43F5-8566-0E4B31CDADAA}">
  <ds:schemaRefs>
    <ds:schemaRef ds:uri="30698970-fb0d-4ba3-8c83-73a7b096c436"/>
    <ds:schemaRef ds:uri="8ee0ef19-b8db-46df-9153-0b7ca71040e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389C6D-6685-4651-A58B-200FD9EB4A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2D21F6E-88A1-4E30-9C06-1B07DBDDDEC4}">
  <ds:schemaRefs>
    <ds:schemaRef ds:uri="http://schemas.microsoft.com/office/2006/documentManagement/types"/>
    <ds:schemaRef ds:uri="http://schemas.microsoft.com/office/infopath/2007/PartnerControls"/>
    <ds:schemaRef ds:uri="8ee0ef19-b8db-46df-9153-0b7ca71040e0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30698970-fb0d-4ba3-8c83-73a7b096c43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65</TotalTime>
  <Words>1186</Words>
  <Application>Microsoft Office PowerPoint</Application>
  <PresentationFormat>Widescreen</PresentationFormat>
  <Paragraphs>255</Paragraphs>
  <Slides>23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Arial</vt:lpstr>
      <vt:lpstr>Calibri</vt:lpstr>
      <vt:lpstr>Georgia</vt:lpstr>
      <vt:lpstr>J&amp;J Circular Bold</vt:lpstr>
      <vt:lpstr>J&amp;J Circular Book</vt:lpstr>
      <vt:lpstr>J&amp;J Circular Light</vt:lpstr>
      <vt:lpstr>J&amp;J Circular Medium</vt:lpstr>
      <vt:lpstr>title, bullets</vt:lpstr>
      <vt:lpstr>1_title, bullets</vt:lpstr>
      <vt:lpstr>2_title, bullets</vt:lpstr>
      <vt:lpstr>5_title, bullets</vt:lpstr>
      <vt:lpstr>3_title, bullets</vt:lpstr>
      <vt:lpstr>4_title, bullets</vt:lpstr>
      <vt:lpstr>think-cell Slide</vt:lpstr>
      <vt:lpstr>How to build a high-performing content team</vt:lpstr>
      <vt:lpstr>Mike Spenceley</vt:lpstr>
      <vt:lpstr>Global Services Scope</vt:lpstr>
      <vt:lpstr>Who we are and what we do</vt:lpstr>
      <vt:lpstr>What I’m going to cover today </vt:lpstr>
      <vt:lpstr>Where we started</vt:lpstr>
      <vt:lpstr>What our users were saying</vt:lpstr>
      <vt:lpstr>Our transformation journey</vt:lpstr>
      <vt:lpstr>Our phased approach to</vt:lpstr>
      <vt:lpstr>Key outcomes</vt:lpstr>
      <vt:lpstr>We’ve seen improvements  in several key areas</vt:lpstr>
      <vt:lpstr>The five pillars</vt:lpstr>
      <vt:lpstr>The five pillars of a high-performing content team</vt:lpstr>
      <vt:lpstr>Why we exist</vt:lpstr>
      <vt:lpstr>Team structure</vt:lpstr>
      <vt:lpstr>Thinking outside the box about talent</vt:lpstr>
      <vt:lpstr>Our core behaviors are critical to our success</vt:lpstr>
      <vt:lpstr>Conversational AI</vt:lpstr>
      <vt:lpstr>Designing user-centric navigation</vt:lpstr>
      <vt:lpstr>Governance and process</vt:lpstr>
      <vt:lpstr>Leveraging AI to get the words right</vt:lpstr>
      <vt:lpstr>“Deciding what not to do is as important as deciding what to do.”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anna K</dc:creator>
  <cp:lastModifiedBy>Spenceley, Michael [JJCUS]</cp:lastModifiedBy>
  <cp:revision>26</cp:revision>
  <cp:lastPrinted>2023-01-13T12:58:16Z</cp:lastPrinted>
  <dcterms:created xsi:type="dcterms:W3CDTF">2018-06-06T22:07:20Z</dcterms:created>
  <dcterms:modified xsi:type="dcterms:W3CDTF">2023-01-13T17:0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E40D5C6E-48BC-455D-AD7F-5E9A3C8688FC</vt:lpwstr>
  </property>
  <property fmtid="{D5CDD505-2E9C-101B-9397-08002B2CF9AE}" pid="3" name="ArticulatePath">
    <vt:lpwstr>JJ Powerpoint Full Screen Version Editable Template_jnjcorporateppttemplatefullscreen190404</vt:lpwstr>
  </property>
  <property fmtid="{D5CDD505-2E9C-101B-9397-08002B2CF9AE}" pid="4" name="ContentTypeId">
    <vt:lpwstr>0x010100B1F584F00EC39445806E563F106705CA</vt:lpwstr>
  </property>
</Properties>
</file>